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charts/chart2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charts/chart5.xml" ContentType="application/vnd.openxmlformats-officedocument.drawingml.chart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charts/chart7.xml" ContentType="application/vnd.openxmlformats-officedocument.drawingml.chart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charts/chart8.xml" ContentType="application/vnd.openxmlformats-officedocument.drawingml.chart+xml"/>
  <Override PartName="/ppt/comments/comment1.xml" ContentType="application/vnd.openxmlformats-officedocument.presentationml.comment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omments/comment2.xml" ContentType="application/vnd.openxmlformats-officedocument.presentationml.comment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charts/chart11.xml" ContentType="application/vnd.openxmlformats-officedocument.drawingml.chart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2.xml" ContentType="application/vnd.openxmlformats-officedocument.drawingml.chart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3.xml" ContentType="application/vnd.openxmlformats-officedocument.drawingml.chart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charts/chart14.xml" ContentType="application/vnd.openxmlformats-officedocument.drawingml.chart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omments/comment3.xml" ContentType="application/vnd.openxmlformats-officedocument.presentationml.comment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6.xml" ContentType="application/vnd.openxmlformats-officedocument.drawingml.chart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1"/>
  </p:sldMasterIdLst>
  <p:notesMasterIdLst>
    <p:notesMasterId r:id="rId20"/>
  </p:notesMasterIdLst>
  <p:handoutMasterIdLst>
    <p:handoutMasterId r:id="rId21"/>
  </p:handoutMasterIdLst>
  <p:sldIdLst>
    <p:sldId id="1340" r:id="rId2"/>
    <p:sldId id="1690" r:id="rId3"/>
    <p:sldId id="1671" r:id="rId4"/>
    <p:sldId id="1676" r:id="rId5"/>
    <p:sldId id="1677" r:id="rId6"/>
    <p:sldId id="1678" r:id="rId7"/>
    <p:sldId id="1679" r:id="rId8"/>
    <p:sldId id="1680" r:id="rId9"/>
    <p:sldId id="1681" r:id="rId10"/>
    <p:sldId id="1682" r:id="rId11"/>
    <p:sldId id="1683" r:id="rId12"/>
    <p:sldId id="1684" r:id="rId13"/>
    <p:sldId id="1685" r:id="rId14"/>
    <p:sldId id="1686" r:id="rId15"/>
    <p:sldId id="1687" r:id="rId16"/>
    <p:sldId id="1688" r:id="rId17"/>
    <p:sldId id="1689" r:id="rId18"/>
    <p:sldId id="1691" r:id="rId19"/>
  </p:sldIdLst>
  <p:sldSz cx="9906000" cy="6858000" type="A4"/>
  <p:notesSz cx="6738938" cy="9869488"/>
  <p:custDataLst>
    <p:tags r:id="rId22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AE555BF-FD6E-4C6A-AB9E-C11BA3924CA3}">
          <p14:sldIdLst>
            <p14:sldId id="1340"/>
          </p14:sldIdLst>
        </p14:section>
        <p14:section name="Market" id="{53BF8AF7-9997-4803-9D41-976CEE97A4CC}">
          <p14:sldIdLst>
            <p14:sldId id="1690"/>
            <p14:sldId id="1671"/>
            <p14:sldId id="1676"/>
            <p14:sldId id="1677"/>
          </p14:sldIdLst>
        </p14:section>
        <p14:section name="Planning" id="{A2FC09E8-8481-40FA-9BB9-AA21700F97BB}">
          <p14:sldIdLst>
            <p14:sldId id="1678"/>
            <p14:sldId id="1679"/>
            <p14:sldId id="1680"/>
            <p14:sldId id="1681"/>
            <p14:sldId id="1682"/>
            <p14:sldId id="1683"/>
            <p14:sldId id="1684"/>
            <p14:sldId id="1685"/>
            <p14:sldId id="1686"/>
            <p14:sldId id="1687"/>
            <p14:sldId id="1688"/>
            <p14:sldId id="1689"/>
            <p14:sldId id="16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3">
          <p15:clr>
            <a:srgbClr val="A4A3A4"/>
          </p15:clr>
        </p15:guide>
        <p15:guide id="2" orient="horz" pos="1102">
          <p15:clr>
            <a:srgbClr val="A4A3A4"/>
          </p15:clr>
        </p15:guide>
        <p15:guide id="3" orient="horz" pos="4004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orient="horz" pos="482">
          <p15:clr>
            <a:srgbClr val="A4A3A4"/>
          </p15:clr>
        </p15:guide>
        <p15:guide id="6" pos="5978" userDrawn="1">
          <p15:clr>
            <a:srgbClr val="A4A3A4"/>
          </p15:clr>
        </p15:guide>
        <p15:guide id="7" pos="3066">
          <p15:clr>
            <a:srgbClr val="A4A3A4"/>
          </p15:clr>
        </p15:guide>
        <p15:guide id="8" pos="3156">
          <p15:clr>
            <a:srgbClr val="A4A3A4"/>
          </p15:clr>
        </p15:guide>
        <p15:guide id="9" pos="2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6"/>
    <a:srgbClr val="A21E4D"/>
    <a:srgbClr val="003366"/>
    <a:srgbClr val="DCEBF0"/>
    <a:srgbClr val="ACD1DC"/>
    <a:srgbClr val="C6DFE7"/>
    <a:srgbClr val="A8ADB3"/>
    <a:srgbClr val="D4D6D9"/>
    <a:srgbClr val="E9E9E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3491" autoAdjust="0"/>
  </p:normalViewPr>
  <p:slideViewPr>
    <p:cSldViewPr showGuides="1">
      <p:cViewPr varScale="1">
        <p:scale>
          <a:sx n="119" d="100"/>
          <a:sy n="119" d="100"/>
        </p:scale>
        <p:origin x="1128" y="88"/>
      </p:cViewPr>
      <p:guideLst>
        <p:guide orient="horz" pos="733"/>
        <p:guide orient="horz" pos="1102"/>
        <p:guide orient="horz" pos="4004"/>
        <p:guide orient="horz" pos="4201"/>
        <p:guide orient="horz" pos="482"/>
        <p:guide pos="5978"/>
        <p:guide pos="3066"/>
        <p:guide pos="3156"/>
        <p:guide pos="2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916"/>
    </p:cViewPr>
  </p:sorter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8053663416043"/>
          <c:y val="2.8324619078141572E-2"/>
          <c:w val="0.87690155481656074"/>
          <c:h val="0.7086414476578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 66</c:v>
                </c:pt>
              </c:strCache>
            </c:strRef>
          </c:tx>
          <c:spPr>
            <a:ln w="28575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B$2:$B$22</c:f>
            </c:numRef>
          </c:val>
          <c:smooth val="0"/>
          <c:extLst>
            <c:ext xmlns:c16="http://schemas.microsoft.com/office/drawing/2014/chart" uri="{C3380CC4-5D6E-409C-BE32-E72D297353CC}">
              <c16:uniqueId val="{00000000-571D-4A5E-A8E0-E10FDBC566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7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C$2:$C$22</c:f>
            </c:numRef>
          </c:val>
          <c:smooth val="0"/>
          <c:extLst>
            <c:ext xmlns:c16="http://schemas.microsoft.com/office/drawing/2014/chart" uri="{C3380CC4-5D6E-409C-BE32-E72D297353CC}">
              <c16:uniqueId val="{00000001-571D-4A5E-A8E0-E10FDBC566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68.S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D$2:$D$22</c:f>
            </c:numRef>
          </c:val>
          <c:smooth val="0"/>
          <c:extLst>
            <c:ext xmlns:c16="http://schemas.microsoft.com/office/drawing/2014/chart" uri="{C3380CC4-5D6E-409C-BE32-E72D297353CC}">
              <c16:uniqueId val="{00000006-571D-4A5E-A8E0-E10FDBC566A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68.O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8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E$2:$E$22</c:f>
            </c:numRef>
          </c:val>
          <c:smooth val="0"/>
          <c:extLst>
            <c:ext xmlns:c16="http://schemas.microsoft.com/office/drawing/2014/chart" uri="{C3380CC4-5D6E-409C-BE32-E72D297353CC}">
              <c16:uniqueId val="{0000000B-571D-4A5E-A8E0-E10FDBC566A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R1</c:v>
                </c:pt>
              </c:strCache>
            </c:strRef>
          </c:tx>
          <c:spPr>
            <a:ln w="38100">
              <a:solidFill>
                <a:srgbClr val="FFFFFF">
                  <a:lumMod val="65000"/>
                </a:srgbClr>
              </a:solidFill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F$2:$F$22</c:f>
              <c:numCache>
                <c:formatCode>#,##0,</c:formatCode>
                <c:ptCount val="14"/>
                <c:pt idx="0">
                  <c:v>21683810.909090906</c:v>
                </c:pt>
                <c:pt idx="1">
                  <c:v>10830980.476190476</c:v>
                </c:pt>
                <c:pt idx="2">
                  <c:v>6862278.7096774187</c:v>
                </c:pt>
                <c:pt idx="3">
                  <c:v>5292682.9268292692</c:v>
                </c:pt>
                <c:pt idx="4">
                  <c:v>4313725.490196079</c:v>
                </c:pt>
                <c:pt idx="5">
                  <c:v>3688524.5901639345</c:v>
                </c:pt>
                <c:pt idx="6">
                  <c:v>3295774.647887324</c:v>
                </c:pt>
                <c:pt idx="7">
                  <c:v>3024691.3580246917</c:v>
                </c:pt>
                <c:pt idx="8">
                  <c:v>2835164.8351648352</c:v>
                </c:pt>
                <c:pt idx="9">
                  <c:v>2683168.3168316833</c:v>
                </c:pt>
                <c:pt idx="10">
                  <c:v>2549549.5495495498</c:v>
                </c:pt>
                <c:pt idx="11">
                  <c:v>2413223.1404958679</c:v>
                </c:pt>
                <c:pt idx="12">
                  <c:v>2290076.3358778628</c:v>
                </c:pt>
                <c:pt idx="13">
                  <c:v>2163120.5673758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87-4797-AB61-F8BA1135F2A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PR2</c:v>
                </c:pt>
              </c:strCache>
            </c:strRef>
          </c:tx>
          <c:spPr>
            <a:ln>
              <a:prstDash val="lgDash"/>
            </a:ln>
          </c:spPr>
          <c:marker>
            <c:symbol val="none"/>
          </c:marker>
          <c:dPt>
            <c:idx val="1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079-437D-9B7D-ADF14DBF23A7}"/>
              </c:ext>
            </c:extLst>
          </c:dPt>
          <c:dPt>
            <c:idx val="2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E079-437D-9B7D-ADF14DBF23A7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G$2:$G$22</c:f>
              <c:numCache>
                <c:formatCode>#,##0,</c:formatCode>
                <c:ptCount val="14"/>
                <c:pt idx="0">
                  <c:v>21683810.909090906</c:v>
                </c:pt>
                <c:pt idx="1">
                  <c:v>10830980.476190476</c:v>
                </c:pt>
                <c:pt idx="2">
                  <c:v>6862278.7096774187</c:v>
                </c:pt>
                <c:pt idx="3">
                  <c:v>4634146.341463415</c:v>
                </c:pt>
                <c:pt idx="4">
                  <c:v>4156862.7450980395</c:v>
                </c:pt>
                <c:pt idx="5">
                  <c:v>3688524.5901639345</c:v>
                </c:pt>
                <c:pt idx="6">
                  <c:v>3295774.647887324</c:v>
                </c:pt>
                <c:pt idx="7">
                  <c:v>3024691.3580246917</c:v>
                </c:pt>
                <c:pt idx="8">
                  <c:v>2835164.8351648352</c:v>
                </c:pt>
                <c:pt idx="9">
                  <c:v>2683168.3168316833</c:v>
                </c:pt>
                <c:pt idx="10">
                  <c:v>2549549.5495495498</c:v>
                </c:pt>
                <c:pt idx="11">
                  <c:v>2413223.1404958679</c:v>
                </c:pt>
                <c:pt idx="12">
                  <c:v>2290076.3358778628</c:v>
                </c:pt>
                <c:pt idx="13">
                  <c:v>2163120.5673758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079-437D-9B7D-ADF14DBF2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931072"/>
        <c:axId val="124936960"/>
      </c:lineChart>
      <c:catAx>
        <c:axId val="124931072"/>
        <c:scaling>
          <c:orientation val="minMax"/>
        </c:scaling>
        <c:delete val="1"/>
        <c:axPos val="b"/>
        <c:numFmt formatCode="0," sourceLinked="0"/>
        <c:majorTickMark val="out"/>
        <c:minorTickMark val="none"/>
        <c:tickLblPos val="nextTo"/>
        <c:crossAx val="124936960"/>
        <c:crossesAt val="1000000000"/>
        <c:auto val="1"/>
        <c:lblAlgn val="ctr"/>
        <c:lblOffset val="100"/>
        <c:noMultiLvlLbl val="0"/>
      </c:catAx>
      <c:valAx>
        <c:axId val="124936960"/>
        <c:scaling>
          <c:orientation val="minMax"/>
        </c:scaling>
        <c:delete val="0"/>
        <c:axPos val="l"/>
        <c:numFmt formatCode="#,##0," sourceLinked="0"/>
        <c:majorTickMark val="out"/>
        <c:minorTickMark val="none"/>
        <c:tickLblPos val="nextTo"/>
        <c:txPr>
          <a:bodyPr/>
          <a:lstStyle/>
          <a:p>
            <a:pPr>
              <a:defRPr sz="900" b="0"/>
            </a:pPr>
            <a:endParaRPr lang="en-US"/>
          </a:p>
        </c:txPr>
        <c:crossAx val="124931072"/>
        <c:crosses val="autoZero"/>
        <c:crossBetween val="between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900"/>
            </a:pPr>
            <a:endParaRPr lang="en-US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n-U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285714285714298E-3"/>
          <c:y val="3.4188034188034191E-2"/>
          <c:w val="0.98214285714285721"/>
          <c:h val="0.9316239316239316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396-41C1-98E8-AC4DF2BAE89C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396-41C1-98E8-AC4DF2BAE89C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8028328.6118980162</c:v>
                </c:pt>
                <c:pt idx="1">
                  <c:v>7028328.6118980162</c:v>
                </c:pt>
                <c:pt idx="2">
                  <c:v>6028328.6118980162</c:v>
                </c:pt>
                <c:pt idx="3">
                  <c:v>5028328.6118980162</c:v>
                </c:pt>
                <c:pt idx="4">
                  <c:v>4028328.6118980162</c:v>
                </c:pt>
                <c:pt idx="5">
                  <c:v>4028328.6118980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96-41C1-98E8-AC4DF2BAE89C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396-41C1-98E8-AC4DF2BAE89C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0</c:v>
                </c:pt>
                <c:pt idx="2">
                  <c:v>10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96-41C1-98E8-AC4DF2BAE8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4466248"/>
        <c:axId val="1"/>
      </c:barChart>
      <c:catAx>
        <c:axId val="764466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28328.611898016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4466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2.8477546549835704E-2"/>
          <c:w val="0.98218873094707992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62B-42B8-A32A-B0462FC87E07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62B-42B8-A32A-B0462FC87E07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0000000</c:v>
                </c:pt>
                <c:pt idx="1">
                  <c:v>9000000</c:v>
                </c:pt>
                <c:pt idx="2">
                  <c:v>8000000</c:v>
                </c:pt>
                <c:pt idx="3">
                  <c:v>7000000</c:v>
                </c:pt>
                <c:pt idx="4">
                  <c:v>6000000</c:v>
                </c:pt>
                <c:pt idx="5">
                  <c:v>6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2B-42B8-A32A-B0462FC87E07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62B-42B8-A32A-B0462FC87E07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0</c:v>
                </c:pt>
                <c:pt idx="2">
                  <c:v>10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2B-42B8-A32A-B0462FC87E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9414480"/>
        <c:axId val="1"/>
      </c:barChart>
      <c:catAx>
        <c:axId val="819414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9414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7463976945244955E-2"/>
          <c:w val="0.98218873094707992"/>
          <c:h val="0.9250720461095099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0EB-462C-A5F5-D07BC998418C}"/>
              </c:ext>
            </c:extLst>
          </c:dPt>
          <c:dPt>
            <c:idx val="7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0EB-462C-A5F5-D07BC998418C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2205875</c:v>
                </c:pt>
                <c:pt idx="1">
                  <c:v>2188875</c:v>
                </c:pt>
                <c:pt idx="2">
                  <c:v>2188875</c:v>
                </c:pt>
                <c:pt idx="3">
                  <c:v>1106874.9999999998</c:v>
                </c:pt>
                <c:pt idx="4">
                  <c:v>1106874.9999999998</c:v>
                </c:pt>
                <c:pt idx="5">
                  <c:v>1146874.9999999998</c:v>
                </c:pt>
                <c:pt idx="6">
                  <c:v>1196874.9999999998</c:v>
                </c:pt>
                <c:pt idx="7">
                  <c:v>1198874.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EB-462C-A5F5-D07BC998418C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0EB-462C-A5F5-D07BC998418C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0EB-462C-A5F5-D07BC998418C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0EB-462C-A5F5-D07BC998418C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1">
                  <c:v>17000</c:v>
                </c:pt>
                <c:pt idx="2">
                  <c:v>18000</c:v>
                </c:pt>
                <c:pt idx="3">
                  <c:v>1100000.0000000002</c:v>
                </c:pt>
                <c:pt idx="4">
                  <c:v>40000</c:v>
                </c:pt>
                <c:pt idx="5">
                  <c:v>50000</c:v>
                </c:pt>
                <c:pt idx="6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0EB-462C-A5F5-D07BC99841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4487896"/>
        <c:axId val="1"/>
      </c:barChart>
      <c:catAx>
        <c:axId val="764487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068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4487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3163265306122444E-2"/>
          <c:w val="0.98218873094707992"/>
          <c:h val="0.9336734693877549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786-4DBD-8615-2E2FB0C717B6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786-4DBD-8615-2E2FB0C717B6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8032921.8106995877</c:v>
                </c:pt>
                <c:pt idx="1">
                  <c:v>7032921.8106995877</c:v>
                </c:pt>
                <c:pt idx="2">
                  <c:v>6032921.8106995877</c:v>
                </c:pt>
                <c:pt idx="3">
                  <c:v>5032921.8106995877</c:v>
                </c:pt>
                <c:pt idx="4">
                  <c:v>4032921.8106995877</c:v>
                </c:pt>
                <c:pt idx="5">
                  <c:v>4032921.8106995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86-4DBD-8615-2E2FB0C717B6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786-4DBD-8615-2E2FB0C717B6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0</c:v>
                </c:pt>
                <c:pt idx="2">
                  <c:v>10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786-4DBD-8615-2E2FB0C717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6400576"/>
        <c:axId val="1"/>
      </c:barChart>
      <c:catAx>
        <c:axId val="616400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32921.810699587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6400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285714285714298E-3"/>
          <c:y val="3.1476997578692496E-2"/>
          <c:w val="0.98214285714285721"/>
          <c:h val="0.9370460048426150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9F0-486B-9ECF-A8AFDC5E71E7}"/>
              </c:ext>
            </c:extLst>
          </c:dPt>
          <c:dPt>
            <c:idx val="5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9F0-486B-9ECF-A8AFDC5E71E7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0000000</c:v>
                </c:pt>
                <c:pt idx="1">
                  <c:v>9000000</c:v>
                </c:pt>
                <c:pt idx="2">
                  <c:v>8000000</c:v>
                </c:pt>
                <c:pt idx="3">
                  <c:v>7000000</c:v>
                </c:pt>
                <c:pt idx="4">
                  <c:v>6000000</c:v>
                </c:pt>
                <c:pt idx="5">
                  <c:v>6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F0-486B-9ECF-A8AFDC5E71E7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9F0-486B-9ECF-A8AFDC5E71E7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1000000</c:v>
                </c:pt>
                <c:pt idx="2">
                  <c:v>10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F0-486B-9ECF-A8AFDC5E7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5924160"/>
        <c:axId val="1"/>
      </c:barChart>
      <c:catAx>
        <c:axId val="625924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5924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883424521847022E-3"/>
          <c:y val="9.595703236874234E-2"/>
          <c:w val="0.99451165754781534"/>
          <c:h val="0.876267401382708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.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4000000</c:v>
                </c:pt>
                <c:pt idx="1">
                  <c:v>4500000</c:v>
                </c:pt>
                <c:pt idx="2">
                  <c:v>5000000</c:v>
                </c:pt>
                <c:pt idx="3">
                  <c:v>5500000</c:v>
                </c:pt>
                <c:pt idx="4">
                  <c:v>6000000</c:v>
                </c:pt>
                <c:pt idx="5">
                  <c:v>6500000</c:v>
                </c:pt>
                <c:pt idx="6">
                  <c:v>7000000</c:v>
                </c:pt>
                <c:pt idx="7">
                  <c:v>7500000</c:v>
                </c:pt>
                <c:pt idx="8">
                  <c:v>8000000</c:v>
                </c:pt>
                <c:pt idx="9">
                  <c:v>8500000</c:v>
                </c:pt>
                <c:pt idx="10">
                  <c:v>9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.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4400000</c:v>
                </c:pt>
                <c:pt idx="1">
                  <c:v>4600000</c:v>
                </c:pt>
                <c:pt idx="2">
                  <c:v>4800000</c:v>
                </c:pt>
                <c:pt idx="3">
                  <c:v>5000000</c:v>
                </c:pt>
                <c:pt idx="4">
                  <c:v>5200000</c:v>
                </c:pt>
                <c:pt idx="5">
                  <c:v>5400000</c:v>
                </c:pt>
                <c:pt idx="6">
                  <c:v>5600000</c:v>
                </c:pt>
                <c:pt idx="7">
                  <c:v>5800000</c:v>
                </c:pt>
                <c:pt idx="8">
                  <c:v>6000000</c:v>
                </c:pt>
                <c:pt idx="9">
                  <c:v>6200000</c:v>
                </c:pt>
                <c:pt idx="10">
                  <c:v>6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.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dLbl>
              <c:idx val="0"/>
              <c:layout>
                <c:manualLayout>
                  <c:x val="-3.2657593466201229E-2"/>
                  <c:y val="8.06053678774024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AB-488A-8D9E-AA358413A017}"/>
                </c:ext>
              </c:extLst>
            </c:dLbl>
            <c:dLbl>
              <c:idx val="1"/>
              <c:layout>
                <c:manualLayout>
                  <c:x val="-3.0954239186080992E-2"/>
                  <c:y val="6.5272627211921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FAB-488A-8D9E-AA358413A017}"/>
                </c:ext>
              </c:extLst>
            </c:dLbl>
            <c:dLbl>
              <c:idx val="2"/>
              <c:layout>
                <c:manualLayout>
                  <c:x val="-3.0954239186080992E-2"/>
                  <c:y val="5.26881720430107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FAB-488A-8D9E-AA358413A017}"/>
                </c:ext>
              </c:extLst>
            </c:dLbl>
            <c:dLbl>
              <c:idx val="3"/>
              <c:layout>
                <c:manualLayout>
                  <c:x val="-3.0954239186080992E-2"/>
                  <c:y val="5.4320987654320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FAB-488A-8D9E-AA358413A017}"/>
                </c:ext>
              </c:extLst>
            </c:dLbl>
            <c:dLbl>
              <c:idx val="5"/>
              <c:layout>
                <c:manualLayout>
                  <c:x val="-2.7547530625840592E-2"/>
                  <c:y val="7.9569892473118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FAB-488A-8D9E-AA358413A017}"/>
                </c:ext>
              </c:extLst>
            </c:dLbl>
            <c:dLbl>
              <c:idx val="6"/>
              <c:layout>
                <c:manualLayout>
                  <c:x val="-3.6064302026441751E-2"/>
                  <c:y val="5.8064516129032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FAB-488A-8D9E-AA358413A017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2</c:v>
                </c:pt>
                <c:pt idx="9">
                  <c:v>0.2</c:v>
                </c:pt>
                <c:pt idx="10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.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dLbl>
              <c:idx val="0"/>
              <c:layout>
                <c:manualLayout>
                  <c:x val="-2.243746778547983E-2"/>
                  <c:y val="-9.13580246913580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FAB-488A-8D9E-AA358413A017}"/>
                </c:ext>
              </c:extLst>
            </c:dLbl>
            <c:dLbl>
              <c:idx val="1"/>
              <c:layout>
                <c:manualLayout>
                  <c:x val="-3.2657593466201229E-2"/>
                  <c:y val="-6.66671527170214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FAB-488A-8D9E-AA358413A017}"/>
                </c:ext>
              </c:extLst>
            </c:dLbl>
            <c:dLbl>
              <c:idx val="2"/>
              <c:layout>
                <c:manualLayout>
                  <c:x val="-3.9471010586682155E-2"/>
                  <c:y val="-8.5184997036660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FAB-488A-8D9E-AA358413A017}"/>
                </c:ext>
              </c:extLst>
            </c:dLbl>
            <c:dLbl>
              <c:idx val="3"/>
              <c:layout>
                <c:manualLayout>
                  <c:x val="-3.0102562046020877E-2"/>
                  <c:y val="-7.8315553297773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FAB-488A-8D9E-AA358413A017}"/>
                </c:ext>
              </c:extLst>
            </c:dLbl>
            <c:dLbl>
              <c:idx val="5"/>
              <c:layout>
                <c:manualLayout>
                  <c:x val="-2.8399207765900707E-2"/>
                  <c:y val="-6.07526881720429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FAB-488A-8D9E-AA358413A017}"/>
                </c:ext>
              </c:extLst>
            </c:dLbl>
            <c:dLbl>
              <c:idx val="6"/>
              <c:layout>
                <c:manualLayout>
                  <c:x val="-2.8399207765900707E-2"/>
                  <c:y val="-5.5376344086021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FAB-488A-8D9E-AA358413A017}"/>
                </c:ext>
              </c:extLst>
            </c:dLbl>
            <c:dLbl>
              <c:idx val="10"/>
              <c:layout>
                <c:manualLayout>
                  <c:x val="-3.0102562046020877E-2"/>
                  <c:y val="-8.22580645161290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FAB-488A-8D9E-AA358413A017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15</c:v>
                </c:pt>
                <c:pt idx="1">
                  <c:v>0.15</c:v>
                </c:pt>
                <c:pt idx="2">
                  <c:v>0.15</c:v>
                </c:pt>
                <c:pt idx="3">
                  <c:v>0.15</c:v>
                </c:pt>
                <c:pt idx="4">
                  <c:v>0.15</c:v>
                </c:pt>
                <c:pt idx="5">
                  <c:v>0.15</c:v>
                </c:pt>
                <c:pt idx="6">
                  <c:v>0.15</c:v>
                </c:pt>
                <c:pt idx="7">
                  <c:v>0.15</c:v>
                </c:pt>
                <c:pt idx="8">
                  <c:v>0.15</c:v>
                </c:pt>
                <c:pt idx="9">
                  <c:v>0.15</c:v>
                </c:pt>
                <c:pt idx="10">
                  <c:v>0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100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  <c:max val="0.23"/>
          <c:min val="0.1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9.8919663205547473E-2"/>
          <c:w val="0.9938677182322756"/>
          <c:h val="0.778896525054005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8.O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#,##0</c:formatCode>
                <c:ptCount val="11"/>
                <c:pt idx="0">
                  <c:v>320000</c:v>
                </c:pt>
                <c:pt idx="1">
                  <c:v>340000</c:v>
                </c:pt>
                <c:pt idx="2">
                  <c:v>320000</c:v>
                </c:pt>
                <c:pt idx="3">
                  <c:v>340000</c:v>
                </c:pt>
                <c:pt idx="4">
                  <c:v>320000</c:v>
                </c:pt>
                <c:pt idx="5">
                  <c:v>340000</c:v>
                </c:pt>
                <c:pt idx="6">
                  <c:v>320000</c:v>
                </c:pt>
                <c:pt idx="7">
                  <c:v>340000</c:v>
                </c:pt>
                <c:pt idx="8">
                  <c:v>320000</c:v>
                </c:pt>
                <c:pt idx="9">
                  <c:v>340000</c:v>
                </c:pt>
                <c:pt idx="10">
                  <c:v>34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B4-4B83-B157-09EB9AD1FBB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.SP</c:v>
                </c:pt>
              </c:strCache>
            </c:strRef>
          </c:tx>
          <c:spPr>
            <a:solidFill>
              <a:srgbClr val="026F4E"/>
            </a:solidFill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#,##0</c:formatCode>
                <c:ptCount val="11"/>
                <c:pt idx="0">
                  <c:v>300000</c:v>
                </c:pt>
                <c:pt idx="1">
                  <c:v>320000</c:v>
                </c:pt>
                <c:pt idx="2">
                  <c:v>300000</c:v>
                </c:pt>
                <c:pt idx="3">
                  <c:v>320000</c:v>
                </c:pt>
                <c:pt idx="4">
                  <c:v>300000</c:v>
                </c:pt>
                <c:pt idx="5">
                  <c:v>320000</c:v>
                </c:pt>
                <c:pt idx="6">
                  <c:v>300000</c:v>
                </c:pt>
                <c:pt idx="7">
                  <c:v>320000</c:v>
                </c:pt>
                <c:pt idx="8">
                  <c:v>300000</c:v>
                </c:pt>
                <c:pt idx="9">
                  <c:v>320000</c:v>
                </c:pt>
                <c:pt idx="10">
                  <c:v>32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11668352"/>
        <c:axId val="211678336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8.OP</c:v>
                </c:pt>
              </c:strCache>
            </c:strRef>
          </c:tx>
          <c:spPr>
            <a:ln w="19050">
              <a:solidFill>
                <a:schemeClr val="tx1"/>
              </a:solidFill>
              <a:prstDash val="sysDot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/>
                </a:solidFill>
                <a:prstDash val="sysDot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C9B4-4B83-B157-09EB9AD1FBBB}"/>
              </c:ext>
            </c:extLst>
          </c:dPt>
          <c:dLbls>
            <c:dLbl>
              <c:idx val="1"/>
              <c:layout>
                <c:manualLayout>
                  <c:x val="-3.3960470850234632E-2"/>
                  <c:y val="-7.33333333333333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9B4-4B83-B157-09EB9AD1FBBB}"/>
                </c:ext>
              </c:extLst>
            </c:dLbl>
            <c:dLbl>
              <c:idx val="2"/>
              <c:layout>
                <c:manualLayout>
                  <c:x val="-3.2870038972401178E-2"/>
                  <c:y val="-6.28657042869641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9B4-4B83-B157-09EB9AD1FBBB}"/>
                </c:ext>
              </c:extLst>
            </c:dLbl>
            <c:dLbl>
              <c:idx val="6"/>
              <c:layout>
                <c:manualLayout>
                  <c:x val="-3.3960470850234632E-2"/>
                  <c:y val="5.44444444444444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9B4-4B83-B157-09EB9AD1FBBB}"/>
                </c:ext>
              </c:extLst>
            </c:dLbl>
            <c:dLbl>
              <c:idx val="10"/>
              <c:layout>
                <c:manualLayout>
                  <c:x val="-2.4120469789761005E-2"/>
                  <c:y val="-9.5555555555555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B4-4B83-B157-09EB9AD1FBBB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1</c:v>
                </c:pt>
                <c:pt idx="1">
                  <c:v>0.11</c:v>
                </c:pt>
                <c:pt idx="2">
                  <c:v>0.1</c:v>
                </c:pt>
                <c:pt idx="3">
                  <c:v>0.11</c:v>
                </c:pt>
                <c:pt idx="4">
                  <c:v>0.1</c:v>
                </c:pt>
                <c:pt idx="5">
                  <c:v>0.11</c:v>
                </c:pt>
                <c:pt idx="6">
                  <c:v>0.1</c:v>
                </c:pt>
                <c:pt idx="7">
                  <c:v>0.11</c:v>
                </c:pt>
                <c:pt idx="8">
                  <c:v>0.1</c:v>
                </c:pt>
                <c:pt idx="9">
                  <c:v>0.11</c:v>
                </c:pt>
                <c:pt idx="10">
                  <c:v>0.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9B4-4B83-B157-09EB9AD1FBB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.SP</c:v>
                </c:pt>
              </c:strCache>
            </c:strRef>
          </c:tx>
          <c:spPr>
            <a:ln w="22225">
              <a:solidFill>
                <a:srgbClr val="026F4E"/>
              </a:solidFill>
            </a:ln>
          </c:spPr>
          <c:marker>
            <c:symbol val="diamond"/>
            <c:size val="7"/>
            <c:spPr>
              <a:solidFill>
                <a:srgbClr val="026F4E"/>
              </a:solidFill>
              <a:ln>
                <a:solidFill>
                  <a:srgbClr val="026F4E"/>
                </a:solidFill>
              </a:ln>
            </c:spPr>
          </c:marker>
          <c:dLbls>
            <c:dLbl>
              <c:idx val="0"/>
              <c:layout>
                <c:manualLayout>
                  <c:x val="-3.5307272197035978E-2"/>
                  <c:y val="6.66666666666666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9B4-4B83-B157-09EB9AD1FBBB}"/>
                </c:ext>
              </c:extLst>
            </c:dLbl>
            <c:dLbl>
              <c:idx val="1"/>
              <c:layout>
                <c:manualLayout>
                  <c:x val="-3.695339218961266E-2"/>
                  <c:y val="9.30109361329833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9B4-4B83-B157-09EB9AD1FBBB}"/>
                </c:ext>
              </c:extLst>
            </c:dLbl>
            <c:dLbl>
              <c:idx val="2"/>
              <c:layout>
                <c:manualLayout>
                  <c:x val="-3.6180174447890984E-2"/>
                  <c:y val="6.49120734908136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9B4-4B83-B157-09EB9AD1FBBB}"/>
                </c:ext>
              </c:extLst>
            </c:dLbl>
            <c:dLbl>
              <c:idx val="5"/>
              <c:layout>
                <c:manualLayout>
                  <c:x val="-2.8478902972231178E-2"/>
                  <c:y val="5.86869733388589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9B4-4B83-B157-09EB9AD1FBBB}"/>
                </c:ext>
              </c:extLst>
            </c:dLbl>
            <c:dLbl>
              <c:idx val="6"/>
              <c:layout>
                <c:manualLayout>
                  <c:x val="-3.5156022163896176E-2"/>
                  <c:y val="-8.51159230096238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9B4-4B83-B157-09EB9AD1FBBB}"/>
                </c:ext>
              </c:extLst>
            </c:dLbl>
            <c:dLbl>
              <c:idx val="8"/>
              <c:layout>
                <c:manualLayout>
                  <c:x val="-2.9274582864641921E-2"/>
                  <c:y val="5.34981350000720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9B4-4B83-B157-09EB9AD1FBBB}"/>
                </c:ext>
              </c:extLst>
            </c:dLbl>
            <c:dLbl>
              <c:idx val="9"/>
              <c:layout>
                <c:manualLayout>
                  <c:x val="-1.8857916197975253E-2"/>
                  <c:y val="3.97806644872330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9B4-4B83-B157-09EB9AD1FBBB}"/>
                </c:ext>
              </c:extLst>
            </c:dLbl>
            <c:dLbl>
              <c:idx val="10"/>
              <c:layout>
                <c:manualLayout>
                  <c:x val="-1.9786977385402582E-2"/>
                  <c:y val="-7.52900262467192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9B4-4B83-B157-09EB9AD1FBBB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12</c:v>
                </c:pt>
                <c:pt idx="1">
                  <c:v>0.13</c:v>
                </c:pt>
                <c:pt idx="2">
                  <c:v>0.12</c:v>
                </c:pt>
                <c:pt idx="3">
                  <c:v>0.13</c:v>
                </c:pt>
                <c:pt idx="4">
                  <c:v>0.12</c:v>
                </c:pt>
                <c:pt idx="5">
                  <c:v>0.13</c:v>
                </c:pt>
                <c:pt idx="6">
                  <c:v>0.12</c:v>
                </c:pt>
                <c:pt idx="7">
                  <c:v>0.13</c:v>
                </c:pt>
                <c:pt idx="8">
                  <c:v>0.12</c:v>
                </c:pt>
                <c:pt idx="9">
                  <c:v>0.13</c:v>
                </c:pt>
                <c:pt idx="10">
                  <c:v>0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C9B4-4B83-B157-09EB9AD1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165376"/>
        <c:axId val="211680256"/>
      </c:lineChart>
      <c:catAx>
        <c:axId val="211668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211678336"/>
        <c:crosses val="autoZero"/>
        <c:auto val="1"/>
        <c:lblAlgn val="ctr"/>
        <c:lblOffset val="100"/>
        <c:noMultiLvlLbl val="0"/>
      </c:catAx>
      <c:valAx>
        <c:axId val="211678336"/>
        <c:scaling>
          <c:orientation val="minMax"/>
          <c:max val="4200000"/>
          <c:min val="0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crossAx val="211668352"/>
        <c:crosses val="autoZero"/>
        <c:crossBetween val="between"/>
        <c:dispUnits>
          <c:builtInUnit val="thousands"/>
        </c:dispUnits>
      </c:valAx>
      <c:valAx>
        <c:axId val="211680256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2165376"/>
        <c:crosses val="max"/>
        <c:crossBetween val="between"/>
      </c:valAx>
      <c:catAx>
        <c:axId val="212165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680256"/>
        <c:crosses val="autoZero"/>
        <c:auto val="1"/>
        <c:lblAlgn val="ctr"/>
        <c:lblOffset val="100"/>
        <c:noMultiLvlLbl val="0"/>
      </c:catAx>
      <c:spPr>
        <a:noFill/>
      </c:spPr>
    </c:plotArea>
    <c:legend>
      <c:legendPos val="r"/>
      <c:layout>
        <c:manualLayout>
          <c:xMode val="edge"/>
          <c:yMode val="edge"/>
          <c:x val="3.1337590848729634E-2"/>
          <c:y val="6.9198610336783806E-3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513546300040436E-2"/>
          <c:y val="2.4644549763033177E-2"/>
          <c:w val="0.97897290739991905"/>
          <c:h val="0.950710900473933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A8ADB3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1">
                  <c:v>11316996</c:v>
                </c:pt>
                <c:pt idx="2">
                  <c:v>12932563</c:v>
                </c:pt>
                <c:pt idx="3">
                  <c:v>13047100.000000002</c:v>
                </c:pt>
                <c:pt idx="4">
                  <c:v>14795290.434782609</c:v>
                </c:pt>
                <c:pt idx="5">
                  <c:v>16386144.347826088</c:v>
                </c:pt>
                <c:pt idx="6">
                  <c:v>19093241.739130437</c:v>
                </c:pt>
                <c:pt idx="7">
                  <c:v>20031303.478260871</c:v>
                </c:pt>
                <c:pt idx="8">
                  <c:v>18628002.608695652</c:v>
                </c:pt>
                <c:pt idx="9">
                  <c:v>18628002.608695652</c:v>
                </c:pt>
                <c:pt idx="10">
                  <c:v>18628002.608695652</c:v>
                </c:pt>
                <c:pt idx="11">
                  <c:v>18628002.6086956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F8-4A45-BDD6-03E459305DD0}"/>
            </c:ext>
          </c:extLst>
        </c:ser>
        <c:ser>
          <c:idx val="1"/>
          <c:order val="1"/>
          <c:spPr>
            <a:solidFill>
              <a:srgbClr val="004666"/>
            </a:solidFill>
            <a:ln>
              <a:noFill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3">
                  <c:v>3652859.1304347827</c:v>
                </c:pt>
                <c:pt idx="4">
                  <c:v>4725854.7826086963</c:v>
                </c:pt>
                <c:pt idx="5">
                  <c:v>4405159.1304347832</c:v>
                </c:pt>
                <c:pt idx="6">
                  <c:v>6218452.1739130439</c:v>
                </c:pt>
                <c:pt idx="7">
                  <c:v>7695316.5217391308</c:v>
                </c:pt>
                <c:pt idx="8">
                  <c:v>8898573.0434782617</c:v>
                </c:pt>
                <c:pt idx="9">
                  <c:v>8898573.0434782617</c:v>
                </c:pt>
                <c:pt idx="10">
                  <c:v>8898573.0434782617</c:v>
                </c:pt>
                <c:pt idx="11">
                  <c:v>8898573.04347826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F8-4A45-BDD6-03E459305D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64491504"/>
        <c:axId val="1"/>
      </c:barChart>
      <c:lineChart>
        <c:grouping val="standard"/>
        <c:varyColors val="0"/>
        <c:ser>
          <c:idx val="2"/>
          <c:order val="2"/>
          <c:spPr>
            <a:ln w="19050" algn="ctr">
              <a:solidFill>
                <a:srgbClr val="A8ADB3"/>
              </a:solidFill>
              <a:prstDash val="solid"/>
            </a:ln>
          </c:spPr>
          <c:marker>
            <c:symbol val="none"/>
          </c:marker>
          <c:val>
            <c:numRef>
              <c:f>Sheet1!$A$3:$L$3</c:f>
              <c:numCache>
                <c:formatCode>General</c:formatCode>
                <c:ptCount val="12"/>
                <c:pt idx="2">
                  <c:v>14.275581611940137</c:v>
                </c:pt>
                <c:pt idx="3">
                  <c:v>0.88564811166975677</c:v>
                </c:pt>
                <c:pt idx="4">
                  <c:v>13.399072857436579</c:v>
                </c:pt>
                <c:pt idx="5">
                  <c:v>10.752434499720941</c:v>
                </c:pt>
                <c:pt idx="6">
                  <c:v>16.520648993693833</c:v>
                </c:pt>
                <c:pt idx="7">
                  <c:v>4.9130564204188154</c:v>
                </c:pt>
                <c:pt idx="8">
                  <c:v>-7.0055394602161698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11F8-4A45-BDD6-03E459305DD0}"/>
            </c:ext>
          </c:extLst>
        </c:ser>
        <c:ser>
          <c:idx val="3"/>
          <c:order val="3"/>
          <c:spPr>
            <a:ln w="19050" algn="ctr">
              <a:solidFill>
                <a:srgbClr val="004666"/>
              </a:solidFill>
              <a:prstDash val="solid"/>
            </a:ln>
          </c:spPr>
          <c:marker>
            <c:symbol val="none"/>
          </c:marker>
          <c:val>
            <c:numRef>
              <c:f>Sheet1!$A$4:$L$4</c:f>
              <c:numCache>
                <c:formatCode>General</c:formatCode>
                <c:ptCount val="12"/>
                <c:pt idx="4">
                  <c:v>29.374131710526697</c:v>
                </c:pt>
                <c:pt idx="5">
                  <c:v>-6.7859819424431755</c:v>
                </c:pt>
                <c:pt idx="6">
                  <c:v>41.162940765304221</c:v>
                </c:pt>
                <c:pt idx="7">
                  <c:v>23.749709839719646</c:v>
                </c:pt>
                <c:pt idx="8">
                  <c:v>15.636218709652194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11F8-4A45-BDD6-03E459305D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764491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764491504"/>
        <c:crosses val="min"/>
        <c:crossBetween val="between"/>
        <c:majorUnit val="5000000"/>
      </c:valAx>
      <c:valAx>
        <c:axId val="2"/>
        <c:scaling>
          <c:orientation val="minMax"/>
          <c:max val="50"/>
          <c:min val="-10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3"/>
        <c:crosses val="max"/>
        <c:crossBetween val="between"/>
        <c:majorUnit val="1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42269056529446E-2"/>
          <c:y val="5.517536355859709E-2"/>
          <c:w val="0.96040969076226113"/>
          <c:h val="0.922583404619332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P$1</c:f>
              <c:numCache>
                <c:formatCode>General</c:formatCode>
                <c:ptCount val="16"/>
                <c:pt idx="0">
                  <c:v>21.37240506395533</c:v>
                </c:pt>
                <c:pt idx="1">
                  <c:v>25.29922060601395</c:v>
                </c:pt>
                <c:pt idx="2">
                  <c:v>27.476114186466592</c:v>
                </c:pt>
                <c:pt idx="3">
                  <c:v>27.144344168079847</c:v>
                </c:pt>
                <c:pt idx="4">
                  <c:v>27.618949343224958</c:v>
                </c:pt>
                <c:pt idx="5">
                  <c:v>27.992061304426681</c:v>
                </c:pt>
                <c:pt idx="6">
                  <c:v>29.48109493532538</c:v>
                </c:pt>
                <c:pt idx="7">
                  <c:v>30.028130507472206</c:v>
                </c:pt>
                <c:pt idx="8">
                  <c:v>30.50115705903379</c:v>
                </c:pt>
                <c:pt idx="9">
                  <c:v>30.840231838245874</c:v>
                </c:pt>
                <c:pt idx="10">
                  <c:v>31.255044432196637</c:v>
                </c:pt>
                <c:pt idx="11">
                  <c:v>31.468528846953621</c:v>
                </c:pt>
                <c:pt idx="12">
                  <c:v>31.640892672162629</c:v>
                </c:pt>
                <c:pt idx="13">
                  <c:v>31.740344123844167</c:v>
                </c:pt>
                <c:pt idx="14">
                  <c:v>31.794417138087727</c:v>
                </c:pt>
                <c:pt idx="15">
                  <c:v>31.819979606566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58-46EF-8520-B66249E568F7}"/>
            </c:ext>
          </c:extLst>
        </c:ser>
        <c:ser>
          <c:idx val="1"/>
          <c:order val="1"/>
          <c:spPr>
            <a:solidFill>
              <a:srgbClr val="C0C0C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P$2</c:f>
              <c:numCache>
                <c:formatCode>General</c:formatCode>
                <c:ptCount val="16"/>
                <c:pt idx="0">
                  <c:v>27.988296412160302</c:v>
                </c:pt>
                <c:pt idx="1">
                  <c:v>30.678509139457589</c:v>
                </c:pt>
                <c:pt idx="2">
                  <c:v>32.507567710930388</c:v>
                </c:pt>
                <c:pt idx="3">
                  <c:v>32.447839589136386</c:v>
                </c:pt>
                <c:pt idx="4">
                  <c:v>33.214148096743294</c:v>
                </c:pt>
                <c:pt idx="5">
                  <c:v>34.178279484022482</c:v>
                </c:pt>
                <c:pt idx="6">
                  <c:v>34.951351343534263</c:v>
                </c:pt>
                <c:pt idx="7">
                  <c:v>35.162511722766077</c:v>
                </c:pt>
                <c:pt idx="8">
                  <c:v>35.411902150299554</c:v>
                </c:pt>
                <c:pt idx="9">
                  <c:v>35.516318885379945</c:v>
                </c:pt>
                <c:pt idx="10">
                  <c:v>35.679510969307799</c:v>
                </c:pt>
                <c:pt idx="11">
                  <c:v>35.676922400826598</c:v>
                </c:pt>
                <c:pt idx="12">
                  <c:v>35.66654896634796</c:v>
                </c:pt>
                <c:pt idx="13">
                  <c:v>35.640318128500191</c:v>
                </c:pt>
                <c:pt idx="14">
                  <c:v>35.591243296910712</c:v>
                </c:pt>
                <c:pt idx="15">
                  <c:v>35.554883511352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58-46EF-8520-B66249E568F7}"/>
            </c:ext>
          </c:extLst>
        </c:ser>
        <c:ser>
          <c:idx val="2"/>
          <c:order val="2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P$3</c:f>
              <c:numCache>
                <c:formatCode>General</c:formatCode>
                <c:ptCount val="16"/>
                <c:pt idx="0">
                  <c:v>39.135331897786315</c:v>
                </c:pt>
                <c:pt idx="1">
                  <c:v>34.244498247634922</c:v>
                </c:pt>
                <c:pt idx="2">
                  <c:v>30.388200929188013</c:v>
                </c:pt>
                <c:pt idx="3">
                  <c:v>31.242406895690099</c:v>
                </c:pt>
                <c:pt idx="4">
                  <c:v>31.708206783496774</c:v>
                </c:pt>
                <c:pt idx="5">
                  <c:v>30.531521643639771</c:v>
                </c:pt>
                <c:pt idx="6">
                  <c:v>28.2546288665242</c:v>
                </c:pt>
                <c:pt idx="7">
                  <c:v>27.147887234588641</c:v>
                </c:pt>
                <c:pt idx="8">
                  <c:v>26.038144918063221</c:v>
                </c:pt>
                <c:pt idx="9">
                  <c:v>25.511946206509595</c:v>
                </c:pt>
                <c:pt idx="10">
                  <c:v>24.876026574769984</c:v>
                </c:pt>
                <c:pt idx="11">
                  <c:v>24.592514433641043</c:v>
                </c:pt>
                <c:pt idx="12">
                  <c:v>24.381440558431635</c:v>
                </c:pt>
                <c:pt idx="13">
                  <c:v>24.251954727487966</c:v>
                </c:pt>
                <c:pt idx="14">
                  <c:v>24.194168380511805</c:v>
                </c:pt>
                <c:pt idx="15">
                  <c:v>24.117598901543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58-46EF-8520-B66249E568F7}"/>
            </c:ext>
          </c:extLst>
        </c:ser>
        <c:ser>
          <c:idx val="3"/>
          <c:order val="3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159110350727117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C58-46EF-8520-B66249E568F7}"/>
                </c:ext>
              </c:extLst>
            </c:dLbl>
            <c:dLbl>
              <c:idx val="15"/>
              <c:layout>
                <c:manualLayout>
                  <c:x val="3.7423675398857596E-2"/>
                  <c:y val="8.5543199315654401E-4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C58-46EF-8520-B66249E568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P$4</c:f>
              <c:numCache>
                <c:formatCode>General</c:formatCode>
                <c:ptCount val="16"/>
                <c:pt idx="0">
                  <c:v>4.1510497727574425</c:v>
                </c:pt>
                <c:pt idx="1">
                  <c:v>4.0462328208633487</c:v>
                </c:pt>
                <c:pt idx="2">
                  <c:v>3.8919189420113964</c:v>
                </c:pt>
                <c:pt idx="3">
                  <c:v>3.9331240200153883</c:v>
                </c:pt>
                <c:pt idx="4">
                  <c:v>3.6781132320951815</c:v>
                </c:pt>
                <c:pt idx="5">
                  <c:v>3.6282951788846329</c:v>
                </c:pt>
                <c:pt idx="6">
                  <c:v>3.6761286278606864</c:v>
                </c:pt>
                <c:pt idx="7">
                  <c:v>4.0017101620558275</c:v>
                </c:pt>
                <c:pt idx="8">
                  <c:v>4.3138496699570039</c:v>
                </c:pt>
                <c:pt idx="9">
                  <c:v>4.4591327325851466</c:v>
                </c:pt>
                <c:pt idx="10">
                  <c:v>4.5854993194839881</c:v>
                </c:pt>
                <c:pt idx="11">
                  <c:v>4.7382254650716327</c:v>
                </c:pt>
                <c:pt idx="12">
                  <c:v>4.8484009561072465</c:v>
                </c:pt>
                <c:pt idx="13">
                  <c:v>4.9455547939399436</c:v>
                </c:pt>
                <c:pt idx="14">
                  <c:v>5.0303364228005965</c:v>
                </c:pt>
                <c:pt idx="15">
                  <c:v>5.1162559674749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C58-46EF-8520-B66249E568F7}"/>
            </c:ext>
          </c:extLst>
        </c:ser>
        <c:ser>
          <c:idx val="4"/>
          <c:order val="4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5:$P$5</c:f>
              <c:numCache>
                <c:formatCode>General</c:formatCode>
                <c:ptCount val="16"/>
                <c:pt idx="0">
                  <c:v>7.3529168533406297</c:v>
                </c:pt>
                <c:pt idx="1">
                  <c:v>5.7315391860301768</c:v>
                </c:pt>
                <c:pt idx="2">
                  <c:v>5.7361982314036002</c:v>
                </c:pt>
                <c:pt idx="3">
                  <c:v>5.2322853270783014</c:v>
                </c:pt>
                <c:pt idx="4">
                  <c:v>3.7805825444397811</c:v>
                </c:pt>
                <c:pt idx="5">
                  <c:v>3.6698423890264564</c:v>
                </c:pt>
                <c:pt idx="6">
                  <c:v>3.6367962267554566</c:v>
                </c:pt>
                <c:pt idx="7">
                  <c:v>3.659760373117249</c:v>
                </c:pt>
                <c:pt idx="8">
                  <c:v>3.7349462026464164</c:v>
                </c:pt>
                <c:pt idx="9">
                  <c:v>3.6723703372794403</c:v>
                </c:pt>
                <c:pt idx="10">
                  <c:v>3.603918704241571</c:v>
                </c:pt>
                <c:pt idx="11">
                  <c:v>3.5238088535071044</c:v>
                </c:pt>
                <c:pt idx="12">
                  <c:v>3.4627168469505198</c:v>
                </c:pt>
                <c:pt idx="13">
                  <c:v>3.4218282262277189</c:v>
                </c:pt>
                <c:pt idx="14">
                  <c:v>3.3898347616891478</c:v>
                </c:pt>
                <c:pt idx="15">
                  <c:v>3.3912820130634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C58-46EF-8520-B66249E568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2055224"/>
        <c:axId val="1"/>
      </c:barChart>
      <c:catAx>
        <c:axId val="942055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20552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24369747899161E-2"/>
          <c:y val="2.9345372460496611E-2"/>
          <c:w val="0.97815126050420176"/>
          <c:h val="0.941309255079006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35B-4EA7-85BD-AB09D2430642}"/>
              </c:ext>
            </c:extLst>
          </c:dPt>
          <c:dPt>
            <c:idx val="5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35B-4EA7-85BD-AB09D2430642}"/>
              </c:ext>
            </c:extLst>
          </c:dPt>
          <c:dPt>
            <c:idx val="8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B35B-4EA7-85BD-AB09D2430642}"/>
              </c:ext>
            </c:extLst>
          </c:dPt>
          <c:dPt>
            <c:idx val="11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B35B-4EA7-85BD-AB09D2430642}"/>
              </c:ext>
            </c:extLst>
          </c:dPt>
          <c:dPt>
            <c:idx val="14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B35B-4EA7-85BD-AB09D2430642}"/>
              </c:ext>
            </c:extLst>
          </c:dPt>
          <c:dPt>
            <c:idx val="17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B35B-4EA7-85BD-AB09D2430642}"/>
              </c:ext>
            </c:extLst>
          </c:dPt>
          <c:dPt>
            <c:idx val="20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B35B-4EA7-85BD-AB09D2430642}"/>
              </c:ext>
            </c:extLst>
          </c:dPt>
          <c:dPt>
            <c:idx val="23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B35B-4EA7-85BD-AB09D2430642}"/>
              </c:ext>
            </c:extLst>
          </c:dPt>
          <c:dPt>
            <c:idx val="26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B35B-4EA7-85BD-AB09D2430642}"/>
              </c:ext>
            </c:extLst>
          </c:dPt>
          <c:dPt>
            <c:idx val="29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B35B-4EA7-85BD-AB09D2430642}"/>
              </c:ext>
            </c:extLst>
          </c:dPt>
          <c:val>
            <c:numRef>
              <c:f>Sheet1!$A$1:$AE$1</c:f>
              <c:numCache>
                <c:formatCode>General</c:formatCode>
                <c:ptCount val="31"/>
                <c:pt idx="0">
                  <c:v>2757163.3333333335</c:v>
                </c:pt>
                <c:pt idx="2">
                  <c:v>2692054.666666667</c:v>
                </c:pt>
                <c:pt idx="3">
                  <c:v>2683908.666666667</c:v>
                </c:pt>
                <c:pt idx="5">
                  <c:v>2476646</c:v>
                </c:pt>
                <c:pt idx="6">
                  <c:v>2470528</c:v>
                </c:pt>
                <c:pt idx="8">
                  <c:v>2516923.333333333</c:v>
                </c:pt>
                <c:pt idx="9">
                  <c:v>2495512</c:v>
                </c:pt>
                <c:pt idx="11">
                  <c:v>2534497.333333333</c:v>
                </c:pt>
                <c:pt idx="12">
                  <c:v>2469667.333333333</c:v>
                </c:pt>
                <c:pt idx="14">
                  <c:v>2570392</c:v>
                </c:pt>
                <c:pt idx="15">
                  <c:v>2494527.333333333</c:v>
                </c:pt>
                <c:pt idx="17">
                  <c:v>2574228.666666667</c:v>
                </c:pt>
                <c:pt idx="18">
                  <c:v>2536793.333333333</c:v>
                </c:pt>
                <c:pt idx="20">
                  <c:v>2652435.3333333335</c:v>
                </c:pt>
                <c:pt idx="21">
                  <c:v>2647503.333333333</c:v>
                </c:pt>
                <c:pt idx="23">
                  <c:v>2682285.333333333</c:v>
                </c:pt>
                <c:pt idx="24">
                  <c:v>2774522.666666667</c:v>
                </c:pt>
                <c:pt idx="26">
                  <c:v>2743608.666666667</c:v>
                </c:pt>
                <c:pt idx="27">
                  <c:v>2884116.666666667</c:v>
                </c:pt>
                <c:pt idx="29">
                  <c:v>2763314.666666667</c:v>
                </c:pt>
                <c:pt idx="30">
                  <c:v>2975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35B-4EA7-85BD-AB09D2430642}"/>
            </c:ext>
          </c:extLst>
        </c:ser>
        <c:ser>
          <c:idx val="1"/>
          <c:order val="1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B35B-4EA7-85BD-AB09D2430642}"/>
              </c:ext>
            </c:extLst>
          </c:dPt>
          <c:dPt>
            <c:idx val="5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B35B-4EA7-85BD-AB09D2430642}"/>
              </c:ext>
            </c:extLst>
          </c:dPt>
          <c:dPt>
            <c:idx val="8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B35B-4EA7-85BD-AB09D2430642}"/>
              </c:ext>
            </c:extLst>
          </c:dPt>
          <c:dPt>
            <c:idx val="11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B35B-4EA7-85BD-AB09D2430642}"/>
              </c:ext>
            </c:extLst>
          </c:dPt>
          <c:dPt>
            <c:idx val="14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B35B-4EA7-85BD-AB09D2430642}"/>
              </c:ext>
            </c:extLst>
          </c:dPt>
          <c:dPt>
            <c:idx val="17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B35B-4EA7-85BD-AB09D2430642}"/>
              </c:ext>
            </c:extLst>
          </c:dPt>
          <c:dPt>
            <c:idx val="20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B35B-4EA7-85BD-AB09D2430642}"/>
              </c:ext>
            </c:extLst>
          </c:dPt>
          <c:dPt>
            <c:idx val="23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B35B-4EA7-85BD-AB09D2430642}"/>
              </c:ext>
            </c:extLst>
          </c:dPt>
          <c:dPt>
            <c:idx val="26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B35B-4EA7-85BD-AB09D2430642}"/>
              </c:ext>
            </c:extLst>
          </c:dPt>
          <c:dPt>
            <c:idx val="29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B35B-4EA7-85BD-AB09D2430642}"/>
              </c:ext>
            </c:extLst>
          </c:dPt>
          <c:val>
            <c:numRef>
              <c:f>Sheet1!$A$2:$AE$2</c:f>
              <c:numCache>
                <c:formatCode>General</c:formatCode>
                <c:ptCount val="31"/>
                <c:pt idx="0">
                  <c:v>1407270</c:v>
                </c:pt>
                <c:pt idx="2">
                  <c:v>1258029.333333333</c:v>
                </c:pt>
                <c:pt idx="3">
                  <c:v>1325485.333333333</c:v>
                </c:pt>
                <c:pt idx="5">
                  <c:v>1225094</c:v>
                </c:pt>
                <c:pt idx="6">
                  <c:v>1290766</c:v>
                </c:pt>
                <c:pt idx="8">
                  <c:v>1293929.333333333</c:v>
                </c:pt>
                <c:pt idx="9">
                  <c:v>1316910.666666667</c:v>
                </c:pt>
                <c:pt idx="11">
                  <c:v>1361012.666666667</c:v>
                </c:pt>
                <c:pt idx="12">
                  <c:v>1368026.666666667</c:v>
                </c:pt>
                <c:pt idx="14">
                  <c:v>1430512.666666667</c:v>
                </c:pt>
                <c:pt idx="15">
                  <c:v>1437607.333333333</c:v>
                </c:pt>
                <c:pt idx="17">
                  <c:v>1496952.666666667</c:v>
                </c:pt>
                <c:pt idx="18">
                  <c:v>1510389.333333333</c:v>
                </c:pt>
                <c:pt idx="20">
                  <c:v>1526490</c:v>
                </c:pt>
                <c:pt idx="21">
                  <c:v>1572296.666666667</c:v>
                </c:pt>
                <c:pt idx="23">
                  <c:v>1545040.666666667</c:v>
                </c:pt>
                <c:pt idx="24">
                  <c:v>1623232</c:v>
                </c:pt>
                <c:pt idx="26">
                  <c:v>1552685.333333333</c:v>
                </c:pt>
                <c:pt idx="27">
                  <c:v>1656080</c:v>
                </c:pt>
                <c:pt idx="29">
                  <c:v>1558657.333333333</c:v>
                </c:pt>
                <c:pt idx="30">
                  <c:v>1693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B35B-4EA7-85BD-AB09D2430642}"/>
            </c:ext>
          </c:extLst>
        </c:ser>
        <c:ser>
          <c:idx val="2"/>
          <c:order val="2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B35B-4EA7-85BD-AB09D2430642}"/>
              </c:ext>
            </c:extLst>
          </c:dPt>
          <c:dPt>
            <c:idx val="5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B35B-4EA7-85BD-AB09D2430642}"/>
              </c:ext>
            </c:extLst>
          </c:dPt>
          <c:dPt>
            <c:idx val="8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B35B-4EA7-85BD-AB09D2430642}"/>
              </c:ext>
            </c:extLst>
          </c:dPt>
          <c:dPt>
            <c:idx val="11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B35B-4EA7-85BD-AB09D2430642}"/>
              </c:ext>
            </c:extLst>
          </c:dPt>
          <c:dPt>
            <c:idx val="14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B35B-4EA7-85BD-AB09D2430642}"/>
              </c:ext>
            </c:extLst>
          </c:dPt>
          <c:dPt>
            <c:idx val="17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B35B-4EA7-85BD-AB09D2430642}"/>
              </c:ext>
            </c:extLst>
          </c:dPt>
          <c:dPt>
            <c:idx val="20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B35B-4EA7-85BD-AB09D2430642}"/>
              </c:ext>
            </c:extLst>
          </c:dPt>
          <c:dPt>
            <c:idx val="23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B35B-4EA7-85BD-AB09D2430642}"/>
              </c:ext>
            </c:extLst>
          </c:dPt>
          <c:dPt>
            <c:idx val="26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B35B-4EA7-85BD-AB09D2430642}"/>
              </c:ext>
            </c:extLst>
          </c:dPt>
          <c:dPt>
            <c:idx val="29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B35B-4EA7-85BD-AB09D2430642}"/>
              </c:ext>
            </c:extLst>
          </c:dPt>
          <c:val>
            <c:numRef>
              <c:f>Sheet1!$A$3:$AE$3</c:f>
              <c:numCache>
                <c:formatCode>General</c:formatCode>
                <c:ptCount val="31"/>
                <c:pt idx="0">
                  <c:v>500585.33333333349</c:v>
                </c:pt>
                <c:pt idx="2">
                  <c:v>423958.66666666698</c:v>
                </c:pt>
                <c:pt idx="3">
                  <c:v>478894</c:v>
                </c:pt>
                <c:pt idx="5">
                  <c:v>404858.66666666651</c:v>
                </c:pt>
                <c:pt idx="6">
                  <c:v>474402.66666666698</c:v>
                </c:pt>
                <c:pt idx="8">
                  <c:v>422872.66666666698</c:v>
                </c:pt>
                <c:pt idx="9">
                  <c:v>471679.33333333302</c:v>
                </c:pt>
                <c:pt idx="11">
                  <c:v>439612.66666666698</c:v>
                </c:pt>
                <c:pt idx="12">
                  <c:v>475183.33333333302</c:v>
                </c:pt>
                <c:pt idx="14">
                  <c:v>456124.66666666698</c:v>
                </c:pt>
                <c:pt idx="15">
                  <c:v>485080</c:v>
                </c:pt>
                <c:pt idx="17">
                  <c:v>473382.66666666698</c:v>
                </c:pt>
                <c:pt idx="18">
                  <c:v>495186</c:v>
                </c:pt>
                <c:pt idx="20">
                  <c:v>478538.00000000047</c:v>
                </c:pt>
                <c:pt idx="21">
                  <c:v>509572</c:v>
                </c:pt>
                <c:pt idx="23">
                  <c:v>486926</c:v>
                </c:pt>
                <c:pt idx="24">
                  <c:v>521372.66666666698</c:v>
                </c:pt>
                <c:pt idx="26">
                  <c:v>495266</c:v>
                </c:pt>
                <c:pt idx="27">
                  <c:v>530642.66666666698</c:v>
                </c:pt>
                <c:pt idx="29">
                  <c:v>498134</c:v>
                </c:pt>
                <c:pt idx="30">
                  <c:v>539796.66666666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B35B-4EA7-85BD-AB09D2430642}"/>
            </c:ext>
          </c:extLst>
        </c:ser>
        <c:ser>
          <c:idx val="3"/>
          <c:order val="3"/>
          <c:spPr>
            <a:solidFill>
              <a:srgbClr val="E3EFF8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B35B-4EA7-85BD-AB09D2430642}"/>
              </c:ext>
            </c:extLst>
          </c:dPt>
          <c:dPt>
            <c:idx val="5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2-B35B-4EA7-85BD-AB09D2430642}"/>
              </c:ext>
            </c:extLst>
          </c:dPt>
          <c:dPt>
            <c:idx val="8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B35B-4EA7-85BD-AB09D2430642}"/>
              </c:ext>
            </c:extLst>
          </c:dPt>
          <c:dPt>
            <c:idx val="11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B35B-4EA7-85BD-AB09D2430642}"/>
              </c:ext>
            </c:extLst>
          </c:dPt>
          <c:dPt>
            <c:idx val="14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5-B35B-4EA7-85BD-AB09D2430642}"/>
              </c:ext>
            </c:extLst>
          </c:dPt>
          <c:dPt>
            <c:idx val="17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B35B-4EA7-85BD-AB09D2430642}"/>
              </c:ext>
            </c:extLst>
          </c:dPt>
          <c:dPt>
            <c:idx val="20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B35B-4EA7-85BD-AB09D2430642}"/>
              </c:ext>
            </c:extLst>
          </c:dPt>
          <c:dPt>
            <c:idx val="23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B35B-4EA7-85BD-AB09D2430642}"/>
              </c:ext>
            </c:extLst>
          </c:dPt>
          <c:dPt>
            <c:idx val="26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B35B-4EA7-85BD-AB09D2430642}"/>
              </c:ext>
            </c:extLst>
          </c:dPt>
          <c:dPt>
            <c:idx val="29"/>
            <c:invertIfNegative val="0"/>
            <c:bubble3D val="0"/>
            <c:spPr>
              <a:solidFill>
                <a:srgbClr val="FFFFF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A-B35B-4EA7-85BD-AB09D2430642}"/>
              </c:ext>
            </c:extLst>
          </c:dPt>
          <c:val>
            <c:numRef>
              <c:f>Sheet1!$A$4:$AE$4</c:f>
              <c:numCache>
                <c:formatCode>General</c:formatCode>
                <c:ptCount val="31"/>
                <c:pt idx="0">
                  <c:v>269476</c:v>
                </c:pt>
                <c:pt idx="2">
                  <c:v>259170</c:v>
                </c:pt>
                <c:pt idx="3">
                  <c:v>252695.33333333302</c:v>
                </c:pt>
                <c:pt idx="5">
                  <c:v>245903.99999999953</c:v>
                </c:pt>
                <c:pt idx="6">
                  <c:v>250166.66666666698</c:v>
                </c:pt>
                <c:pt idx="8">
                  <c:v>257520</c:v>
                </c:pt>
                <c:pt idx="9">
                  <c:v>238590</c:v>
                </c:pt>
                <c:pt idx="11">
                  <c:v>265708</c:v>
                </c:pt>
                <c:pt idx="12">
                  <c:v>237740.66666666698</c:v>
                </c:pt>
                <c:pt idx="14">
                  <c:v>272128</c:v>
                </c:pt>
                <c:pt idx="15">
                  <c:v>241944</c:v>
                </c:pt>
                <c:pt idx="17">
                  <c:v>266488</c:v>
                </c:pt>
                <c:pt idx="18">
                  <c:v>237201.33333333302</c:v>
                </c:pt>
                <c:pt idx="20">
                  <c:v>266528</c:v>
                </c:pt>
                <c:pt idx="21">
                  <c:v>245002.66666666698</c:v>
                </c:pt>
                <c:pt idx="23">
                  <c:v>266849.33333333302</c:v>
                </c:pt>
                <c:pt idx="24">
                  <c:v>251196</c:v>
                </c:pt>
                <c:pt idx="26">
                  <c:v>267664</c:v>
                </c:pt>
                <c:pt idx="27">
                  <c:v>254530.66666666698</c:v>
                </c:pt>
                <c:pt idx="29">
                  <c:v>265455.33333333302</c:v>
                </c:pt>
                <c:pt idx="30">
                  <c:v>256721.33333333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B35B-4EA7-85BD-AB09D24306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947740808"/>
        <c:axId val="1"/>
      </c:barChart>
      <c:catAx>
        <c:axId val="947740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5465798"/>
          <c:min val="-1.5"/>
        </c:scaling>
        <c:delete val="1"/>
        <c:axPos val="r"/>
        <c:numFmt formatCode="General" sourceLinked="1"/>
        <c:majorTickMark val="out"/>
        <c:minorTickMark val="none"/>
        <c:tickLblPos val="nextTo"/>
        <c:crossAx val="947740808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09998117115416E-3"/>
          <c:y val="2.7069234773555439E-2"/>
          <c:w val="0.98041800037657689"/>
          <c:h val="0.945861530452889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D9E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4000000</c:v>
                </c:pt>
                <c:pt idx="1">
                  <c:v>4000000</c:v>
                </c:pt>
                <c:pt idx="2">
                  <c:v>4000000</c:v>
                </c:pt>
                <c:pt idx="3">
                  <c:v>4000000</c:v>
                </c:pt>
                <c:pt idx="4">
                  <c:v>4000000</c:v>
                </c:pt>
                <c:pt idx="5">
                  <c:v>4000000</c:v>
                </c:pt>
                <c:pt idx="6">
                  <c:v>4000000</c:v>
                </c:pt>
                <c:pt idx="7">
                  <c:v>4000000</c:v>
                </c:pt>
                <c:pt idx="8">
                  <c:v>4000000</c:v>
                </c:pt>
                <c:pt idx="9">
                  <c:v>4000000</c:v>
                </c:pt>
                <c:pt idx="10">
                  <c:v>4000000</c:v>
                </c:pt>
                <c:pt idx="11">
                  <c:v>4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B3-4655-886B-9C12C8ABAFD9}"/>
            </c:ext>
          </c:extLst>
        </c:ser>
        <c:ser>
          <c:idx val="1"/>
          <c:order val="1"/>
          <c:spPr>
            <a:solidFill>
              <a:srgbClr val="007770"/>
            </a:solidFill>
            <a:ln w="12700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50000</c:v>
                </c:pt>
                <c:pt idx="1">
                  <c:v>60000</c:v>
                </c:pt>
                <c:pt idx="2">
                  <c:v>70000</c:v>
                </c:pt>
                <c:pt idx="3">
                  <c:v>80000</c:v>
                </c:pt>
                <c:pt idx="4">
                  <c:v>90000</c:v>
                </c:pt>
                <c:pt idx="5">
                  <c:v>100000</c:v>
                </c:pt>
                <c:pt idx="6">
                  <c:v>110000</c:v>
                </c:pt>
                <c:pt idx="7">
                  <c:v>120000</c:v>
                </c:pt>
                <c:pt idx="8">
                  <c:v>130000</c:v>
                </c:pt>
                <c:pt idx="9">
                  <c:v>140000</c:v>
                </c:pt>
                <c:pt idx="10">
                  <c:v>150000</c:v>
                </c:pt>
                <c:pt idx="11">
                  <c:v>16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EB3-4655-886B-9C12C8ABAF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4694872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EB3-4655-886B-9C12C8ABAFD9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EB3-4655-886B-9C12C8ABAFD9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EB3-4655-886B-9C12C8ABAFD9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EB3-4655-886B-9C12C8ABAFD9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EB3-4655-886B-9C12C8ABAFD9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EB3-4655-886B-9C12C8ABAFD9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EB3-4655-886B-9C12C8ABAFD9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EB3-4655-886B-9C12C8ABAFD9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EB3-4655-886B-9C12C8ABAFD9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EB3-4655-886B-9C12C8ABAFD9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EB3-4655-886B-9C12C8ABAFD9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EB3-4655-886B-9C12C8ABAFD9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20</c:v>
                </c:pt>
                <c:pt idx="11">
                  <c:v>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8EB3-4655-886B-9C12C8ABAF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774694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774694872"/>
        <c:crosses val="min"/>
        <c:crossBetween val="between"/>
        <c:majorUnit val="500000"/>
      </c:valAx>
      <c:valAx>
        <c:axId val="2"/>
        <c:scaling>
          <c:orientation val="minMax"/>
          <c:max val="2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800" b="1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788908079063519E-3"/>
          <c:y val="4.1041831097079713E-2"/>
          <c:w val="0.98004221838418726"/>
          <c:h val="0.91791633780584059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04666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2:$L$2</c:f>
              <c:numCache>
                <c:formatCode>General</c:formatCode>
                <c:ptCount val="12"/>
                <c:pt idx="0">
                  <c:v>2.5308133570303575</c:v>
                </c:pt>
                <c:pt idx="1">
                  <c:v>2.5308133570303575</c:v>
                </c:pt>
                <c:pt idx="2">
                  <c:v>2.5308133570303575</c:v>
                </c:pt>
                <c:pt idx="3">
                  <c:v>2.5308133570303575</c:v>
                </c:pt>
                <c:pt idx="4">
                  <c:v>2.5308133570303575</c:v>
                </c:pt>
                <c:pt idx="5">
                  <c:v>2.5308133570303575</c:v>
                </c:pt>
                <c:pt idx="6">
                  <c:v>2.5308133570303575</c:v>
                </c:pt>
                <c:pt idx="7">
                  <c:v>2.5308133570303575</c:v>
                </c:pt>
                <c:pt idx="8">
                  <c:v>2.5308133570303575</c:v>
                </c:pt>
                <c:pt idx="9">
                  <c:v>2.5308133570303575</c:v>
                </c:pt>
                <c:pt idx="10">
                  <c:v>2.5308133570303575</c:v>
                </c:pt>
                <c:pt idx="11">
                  <c:v>2.530813357030357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4F8E-459B-93A4-BFE4A9A56BB5}"/>
            </c:ext>
          </c:extLst>
        </c:ser>
        <c:ser>
          <c:idx val="1"/>
          <c:order val="1"/>
          <c:spPr>
            <a:ln w="19050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3:$L$3</c:f>
              <c:numCache>
                <c:formatCode>General</c:formatCode>
                <c:ptCount val="12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4F8E-459B-93A4-BFE4A9A56BB5}"/>
            </c:ext>
          </c:extLst>
        </c:ser>
        <c:ser>
          <c:idx val="2"/>
          <c:order val="2"/>
          <c:spPr>
            <a:ln w="19050" algn="ctr">
              <a:solidFill>
                <a:srgbClr val="008000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4:$L$4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4F8E-459B-93A4-BFE4A9A56BB5}"/>
            </c:ext>
          </c:extLst>
        </c:ser>
        <c:ser>
          <c:idx val="3"/>
          <c:order val="3"/>
          <c:spPr>
            <a:ln w="19050" algn="ctr">
              <a:solidFill>
                <a:srgbClr val="80B0C8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5:$L$5</c:f>
              <c:numCache>
                <c:formatCode>General</c:formatCode>
                <c:ptCount val="12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  <c:pt idx="7">
                  <c:v>0.5</c:v>
                </c:pt>
                <c:pt idx="8">
                  <c:v>0.5</c:v>
                </c:pt>
                <c:pt idx="9">
                  <c:v>0.5</c:v>
                </c:pt>
                <c:pt idx="10">
                  <c:v>0.5</c:v>
                </c:pt>
                <c:pt idx="11">
                  <c:v>0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4F8E-459B-93A4-BFE4A9A56BB5}"/>
            </c:ext>
          </c:extLst>
        </c:ser>
        <c:ser>
          <c:idx val="4"/>
          <c:order val="4"/>
          <c:spPr>
            <a:ln w="19050" algn="ctr">
              <a:solidFill>
                <a:srgbClr val="FDB56C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6:$L$6</c:f>
              <c:numCache>
                <c:formatCode>General</c:formatCode>
                <c:ptCount val="12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  <c:pt idx="9">
                  <c:v>0.1</c:v>
                </c:pt>
                <c:pt idx="10">
                  <c:v>0.1</c:v>
                </c:pt>
                <c:pt idx="11">
                  <c:v>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4F8E-459B-93A4-BFE4A9A56BB5}"/>
            </c:ext>
          </c:extLst>
        </c:ser>
        <c:ser>
          <c:idx val="5"/>
          <c:order val="5"/>
          <c:spPr>
            <a:ln w="19050" algn="ctr">
              <a:solidFill>
                <a:srgbClr val="A8ADB3"/>
              </a:solidFill>
              <a:prstDash val="solid"/>
            </a:ln>
          </c:spPr>
          <c:marker>
            <c:symbol val="none"/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xVal>
          <c:yVal>
            <c:numRef>
              <c:f>Sheet1!$A$7:$L$7</c:f>
              <c:numCache>
                <c:formatCode>General</c:formatCode>
                <c:ptCount val="12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  <c:pt idx="7">
                  <c:v>0.5</c:v>
                </c:pt>
                <c:pt idx="8">
                  <c:v>0.5</c:v>
                </c:pt>
                <c:pt idx="9">
                  <c:v>0.5</c:v>
                </c:pt>
                <c:pt idx="10">
                  <c:v>0.5</c:v>
                </c:pt>
                <c:pt idx="11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4F8E-459B-93A4-BFE4A9A56B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29404904"/>
        <c:axId val="1"/>
      </c:scatterChart>
      <c:valAx>
        <c:axId val="929404904"/>
        <c:scaling>
          <c:orientation val="minMax"/>
          <c:max val="2030"/>
          <c:min val="2019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7.530813357030357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929404904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28166797797009E-2"/>
          <c:y val="3.5714285714285719E-2"/>
          <c:w val="0.97954366640440593"/>
          <c:h val="0.92857142857142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</c:v>
                </c:pt>
                <c:pt idx="1">
                  <c:v>200000</c:v>
                </c:pt>
                <c:pt idx="2">
                  <c:v>400000</c:v>
                </c:pt>
                <c:pt idx="3">
                  <c:v>600000</c:v>
                </c:pt>
                <c:pt idx="4">
                  <c:v>800000</c:v>
                </c:pt>
                <c:pt idx="5">
                  <c:v>1000000</c:v>
                </c:pt>
                <c:pt idx="6">
                  <c:v>1200000</c:v>
                </c:pt>
                <c:pt idx="7">
                  <c:v>1400000</c:v>
                </c:pt>
                <c:pt idx="8">
                  <c:v>1600000</c:v>
                </c:pt>
                <c:pt idx="9">
                  <c:v>1800000</c:v>
                </c:pt>
                <c:pt idx="10">
                  <c:v>2000000</c:v>
                </c:pt>
                <c:pt idx="11">
                  <c:v>22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8D-4480-B508-C015058DAC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591924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C8D-4480-B508-C015058DAC07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C8D-4480-B508-C015058DAC07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C8D-4480-B508-C015058DAC07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C8D-4480-B508-C015058DAC07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C8D-4480-B508-C015058DAC07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C8D-4480-B508-C015058DAC07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C8D-4480-B508-C015058DAC07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C8D-4480-B508-C015058DAC07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C8D-4480-B508-C015058DAC07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C8D-4480-B508-C015058DAC07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C8D-4480-B508-C015058DAC07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C8D-4480-B508-C015058DAC07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5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8C8D-4480-B508-C015058DAC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625919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625919240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652582159624413E-3"/>
          <c:y val="3.2520325203252029E-2"/>
          <c:w val="0.98046948356807517"/>
          <c:h val="0.934959349593495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3175" algn="ctr">
              <a:solidFill>
                <a:srgbClr val="026F4E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50000</c:v>
                </c:pt>
                <c:pt idx="1">
                  <c:v>220000</c:v>
                </c:pt>
                <c:pt idx="2">
                  <c:v>390000</c:v>
                </c:pt>
                <c:pt idx="3">
                  <c:v>560000</c:v>
                </c:pt>
                <c:pt idx="4">
                  <c:v>730000</c:v>
                </c:pt>
                <c:pt idx="5">
                  <c:v>900000</c:v>
                </c:pt>
                <c:pt idx="6">
                  <c:v>1070000</c:v>
                </c:pt>
                <c:pt idx="7">
                  <c:v>1240000</c:v>
                </c:pt>
                <c:pt idx="8">
                  <c:v>1410000</c:v>
                </c:pt>
                <c:pt idx="9">
                  <c:v>1580000</c:v>
                </c:pt>
                <c:pt idx="10">
                  <c:v>1750000</c:v>
                </c:pt>
                <c:pt idx="11">
                  <c:v>192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7C-41C9-A0D8-CFE019747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9428912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67C-41C9-A0D8-CFE019747E53}"/>
              </c:ext>
            </c:extLst>
          </c:dPt>
          <c:dPt>
            <c:idx val="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67C-41C9-A0D8-CFE019747E53}"/>
              </c:ext>
            </c:extLst>
          </c:dPt>
          <c:dPt>
            <c:idx val="2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67C-41C9-A0D8-CFE019747E53}"/>
              </c:ext>
            </c:extLst>
          </c:dPt>
          <c:dPt>
            <c:idx val="3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67C-41C9-A0D8-CFE019747E53}"/>
              </c:ext>
            </c:extLst>
          </c:dPt>
          <c:dPt>
            <c:idx val="4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67C-41C9-A0D8-CFE019747E53}"/>
              </c:ext>
            </c:extLst>
          </c:dPt>
          <c:dPt>
            <c:idx val="5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67C-41C9-A0D8-CFE019747E53}"/>
              </c:ext>
            </c:extLst>
          </c:dPt>
          <c:dPt>
            <c:idx val="6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67C-41C9-A0D8-CFE019747E53}"/>
              </c:ext>
            </c:extLst>
          </c:dPt>
          <c:dPt>
            <c:idx val="7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67C-41C9-A0D8-CFE019747E53}"/>
              </c:ext>
            </c:extLst>
          </c:dPt>
          <c:dPt>
            <c:idx val="8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67C-41C9-A0D8-CFE019747E53}"/>
              </c:ext>
            </c:extLst>
          </c:dPt>
          <c:dPt>
            <c:idx val="9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67C-41C9-A0D8-CFE019747E53}"/>
              </c:ext>
            </c:extLst>
          </c:dPt>
          <c:dPt>
            <c:idx val="10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67C-41C9-A0D8-CFE019747E53}"/>
              </c:ext>
            </c:extLst>
          </c:dPt>
          <c:dPt>
            <c:idx val="11"/>
            <c:marker>
              <c:symbol val="circle"/>
              <c:size val="4"/>
              <c:spPr>
                <a:solidFill>
                  <a:srgbClr val="FFFFFF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E67C-41C9-A0D8-CFE019747E53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4.8</c:v>
                </c:pt>
                <c:pt idx="6">
                  <c:v>4.8</c:v>
                </c:pt>
                <c:pt idx="7">
                  <c:v>4.8</c:v>
                </c:pt>
                <c:pt idx="8">
                  <c:v>4.8</c:v>
                </c:pt>
                <c:pt idx="9">
                  <c:v>4.8</c:v>
                </c:pt>
                <c:pt idx="10">
                  <c:v>4.8</c:v>
                </c:pt>
                <c:pt idx="11">
                  <c:v>4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E67C-41C9-A0D8-CFE019747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819428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819428912"/>
        <c:crosses val="min"/>
        <c:crossBetween val="between"/>
      </c:valAx>
      <c:valAx>
        <c:axId val="2"/>
        <c:scaling>
          <c:orientation val="minMax"/>
          <c:max val="25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b="1">
                <a:latin typeface="VWAG TheSans"/>
                <a:ea typeface="VWAG TheSans"/>
                <a:cs typeface="VWAG TheSans"/>
                <a:sym typeface="VWAG TheSans"/>
              </a:defRPr>
            </a:pPr>
            <a:endParaRPr lang="en-US"/>
          </a:p>
        </c:txPr>
        <c:crossAx val="3"/>
        <c:crosses val="max"/>
        <c:crossBetween val="between"/>
        <c:majorUnit val="5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056345264600101E-3"/>
          <c:y val="3.9755351681957186E-2"/>
          <c:w val="0.98218873094707992"/>
          <c:h val="0.9204892966360855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869-4511-B04A-71C4B62CAD88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869-4511-B04A-71C4B62CAD88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7424666.6666666642</c:v>
                </c:pt>
                <c:pt idx="1">
                  <c:v>5424666.6666666642</c:v>
                </c:pt>
                <c:pt idx="2">
                  <c:v>5424666.6666666642</c:v>
                </c:pt>
                <c:pt idx="3">
                  <c:v>4724666.6666666642</c:v>
                </c:pt>
                <c:pt idx="4">
                  <c:v>3724666.6666666642</c:v>
                </c:pt>
                <c:pt idx="8">
                  <c:v>3724666.66666666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69-4511-B04A-71C4B62CAD88}"/>
            </c:ext>
          </c:extLst>
        </c:ser>
        <c:ser>
          <c:idx val="1"/>
          <c:order val="1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9BD8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869-4511-B04A-71C4B62CAD88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1">
                  <c:v>2000000</c:v>
                </c:pt>
                <c:pt idx="2">
                  <c:v>300000</c:v>
                </c:pt>
                <c:pt idx="3">
                  <c:v>1000000</c:v>
                </c:pt>
                <c:pt idx="4">
                  <c:v>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869-4511-B04A-71C4B62CAD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9410872"/>
        <c:axId val="1"/>
      </c:barChart>
      <c:catAx>
        <c:axId val="819410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24666.66666666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9410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08:13.386" idx="4">
    <p:pos x="10" y="10"/>
    <p:text>图同上页，同一类型，表有变化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22:17.476" idx="5">
    <p:pos x="10" y="10"/>
    <p:text>6-11页是一个类型图，表格维度不一样</p:text>
    <p:extLst>
      <p:ext uri="{C676402C-5697-4E1C-873F-D02D1690AC5C}">
        <p15:threadingInfo xmlns:p15="http://schemas.microsoft.com/office/powerpoint/2012/main" timeZoneBias="-4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17:21.636" idx="6">
    <p:pos x="10" y="10"/>
    <p:text>9，10页是一种类型，配色不一样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692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8500" y="739775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7476" y="4687381"/>
            <a:ext cx="4943987" cy="4443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792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01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776" indent="-285683" defTabSz="91101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732" indent="-228548" defTabSz="91101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824" indent="-228548" defTabSz="91101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6917" indent="-228548" defTabSz="91101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009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103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195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288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370E58-3B1B-4A83-B54B-15D2B10490FB}" type="slidenum">
              <a:rPr lang="zh-CN" altLang="en-US" sz="1200"/>
              <a:pPr/>
              <a:t>1</a:t>
            </a:fld>
            <a:endParaRPr lang="en-US" altLang="zh-CN" sz="1200" dirty="0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9775"/>
            <a:ext cx="5348288" cy="3702050"/>
          </a:xfrm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884" y="4687416"/>
            <a:ext cx="4943175" cy="4442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52656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0025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609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1558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7AD731A-45D6-45F1-9911-161B03F1254D}" type="slidenum">
              <a:rPr lang="de-DE"/>
              <a:pPr/>
              <a:t>2</a:t>
            </a:fld>
            <a:endParaRPr lang="de-DE" dirty="0"/>
          </a:p>
        </p:txBody>
      </p:sp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190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937B39-FBD3-4C67-AC5B-621FD0E1CEEA}" type="slidenum">
              <a:rPr lang="zh-CN" altLang="de-DE" smtClean="0"/>
              <a:pPr>
                <a:defRPr/>
              </a:pPr>
              <a:t>4</a:t>
            </a:fld>
            <a:endParaRPr lang="de-DE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1533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0088" y="742950"/>
            <a:ext cx="5341937" cy="3698875"/>
          </a:xfrm>
          <a:ln/>
        </p:spPr>
      </p:sp>
      <p:sp>
        <p:nvSpPr>
          <p:cNvPr id="2037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8632" y="4689311"/>
            <a:ext cx="4941678" cy="4439928"/>
          </a:xfrm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zh-CN" dirty="0" smtClean="0">
              <a:latin typeface="Arial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4921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Group Market Intelligence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0298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3243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072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72579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7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D2FF9D-3303-423F-A46B-6894B09FEDC0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7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005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96875" y="1697038"/>
            <a:ext cx="909796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latin typeface="VWAG TheSans" panose="020B0502050302020203" pitchFamily="34" charset="0"/>
            </a:endParaRPr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4271963"/>
            <a:ext cx="9088438" cy="1082675"/>
          </a:xfrm>
        </p:spPr>
        <p:txBody>
          <a:bodyPr/>
          <a:lstStyle>
            <a:lvl1pPr>
              <a:lnSpc>
                <a:spcPts val="3988"/>
              </a:lnSpc>
              <a:defRPr sz="2800"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6400" y="5351463"/>
            <a:ext cx="9088438" cy="823912"/>
          </a:xfrm>
        </p:spPr>
        <p:txBody>
          <a:bodyPr/>
          <a:lstStyle>
            <a:lvl1pPr>
              <a:lnSpc>
                <a:spcPts val="3988"/>
              </a:lnSpc>
              <a:defRPr sz="2400">
                <a:solidFill>
                  <a:schemeClr val="tx2"/>
                </a:solidFill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8" name="Picture 59" descr="VWGCN-en_CO_M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88" y="701675"/>
            <a:ext cx="1860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218238"/>
            <a:ext cx="224155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4308475" y="6510338"/>
            <a:ext cx="2011363" cy="179387"/>
          </a:xfrm>
        </p:spPr>
        <p:txBody>
          <a:bodyPr anchor="ctr"/>
          <a:lstStyle>
            <a:lvl1pPr algn="ctr">
              <a:defRPr sz="1300" dirty="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9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 smtClean="0"/>
              <a:t>C - VI</a:t>
            </a:r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3216056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08563" y="1757363"/>
            <a:ext cx="44878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 smtClean="0"/>
              <a:t>C - VI</a:t>
            </a:r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1088530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3575" cy="4589462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19675" y="1757363"/>
            <a:ext cx="4476750" cy="4589462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 smtClean="0"/>
              <a:t>C - VI</a:t>
            </a:r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829695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10150" y="1757363"/>
            <a:ext cx="4486275" cy="4589462"/>
          </a:xfrm>
        </p:spPr>
        <p:txBody>
          <a:bodyPr/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de-DE" noProof="0"/>
              <a:pPr/>
              <a:t>‹#›</a:t>
            </a:fld>
            <a:endParaRPr lang="de-DE" noProof="0" dirty="0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 smtClean="0"/>
              <a:t>C - VI</a:t>
            </a:r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1312960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966094"/>
              </p:ext>
            </p:extLst>
          </p:nvPr>
        </p:nvGraphicFramePr>
        <p:xfrm>
          <a:off x="1693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93" y="1592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B19DDE-A315-4170-944D-B67F9F06B97B}" type="slidenum">
              <a:rPr lang="zh-CN" altLang="de-DE"/>
              <a:pPr>
                <a:defRPr/>
              </a:pPr>
              <a:t>‹#›</a:t>
            </a:fld>
            <a:endParaRPr lang="de-DE" altLang="zh-CN"/>
          </a:p>
        </p:txBody>
      </p:sp>
      <p:sp>
        <p:nvSpPr>
          <p:cNvPr id="7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 smtClean="0"/>
              <a:t>C - VI</a:t>
            </a:r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915380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230409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67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57363"/>
            <a:ext cx="9104312" cy="458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Mastertitelformat bearbeiten</a:t>
            </a:r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92113" y="762000"/>
            <a:ext cx="9102725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noProof="0" dirty="0">
              <a:latin typeface="VWAG TheSans" panose="020B0502050302020203" pitchFamily="34" charset="0"/>
            </a:endParaRPr>
          </a:p>
        </p:txBody>
      </p:sp>
      <p:pic>
        <p:nvPicPr>
          <p:cNvPr id="9" name="Picture 9" descr="VWGCN-en_CO_M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04800"/>
            <a:ext cx="12922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7"/>
          <p:cNvSpPr>
            <a:spLocks noGrp="1" noChangeArrowheads="1"/>
          </p:cNvSpPr>
          <p:nvPr>
            <p:ph type="dt" sz="half" idx="2"/>
          </p:nvPr>
        </p:nvSpPr>
        <p:spPr>
          <a:xfrm>
            <a:off x="4408488" y="6548438"/>
            <a:ext cx="1911350" cy="285750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 dirty="0"/>
          </a:p>
        </p:txBody>
      </p:sp>
      <p:pic>
        <p:nvPicPr>
          <p:cNvPr id="12" name="Picture 54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" y="6381750"/>
            <a:ext cx="1846263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62" r:id="rId4"/>
    <p:sldLayoutId id="2147483663" r:id="rId5"/>
    <p:sldLayoutId id="2147483664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WAG TheSans" panose="020B0502050302020203" pitchFamily="34" charset="0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VWAG TheSans" panose="020B0502050302020203" pitchFamily="34" charset="0"/>
          <a:ea typeface="+mn-ea"/>
          <a:cs typeface="+mn-cs"/>
        </a:defRPr>
      </a:lvl1pPr>
      <a:lvl2pPr marL="190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2pPr>
      <a:lvl3pPr marL="381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3pPr>
      <a:lvl4pPr marL="571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4pPr>
      <a:lvl5pPr marL="762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5pPr>
      <a:lvl6pPr marL="12192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6764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21336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5908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608.xml"/><Relationship Id="rId13" Type="http://schemas.openxmlformats.org/officeDocument/2006/relationships/tags" Target="../tags/tag613.xml"/><Relationship Id="rId18" Type="http://schemas.openxmlformats.org/officeDocument/2006/relationships/tags" Target="../tags/tag618.xml"/><Relationship Id="rId26" Type="http://schemas.openxmlformats.org/officeDocument/2006/relationships/tags" Target="../tags/tag626.xml"/><Relationship Id="rId39" Type="http://schemas.openxmlformats.org/officeDocument/2006/relationships/tags" Target="../tags/tag639.xml"/><Relationship Id="rId3" Type="http://schemas.openxmlformats.org/officeDocument/2006/relationships/tags" Target="../tags/tag603.xml"/><Relationship Id="rId21" Type="http://schemas.openxmlformats.org/officeDocument/2006/relationships/tags" Target="../tags/tag621.xml"/><Relationship Id="rId34" Type="http://schemas.openxmlformats.org/officeDocument/2006/relationships/tags" Target="../tags/tag634.xml"/><Relationship Id="rId42" Type="http://schemas.openxmlformats.org/officeDocument/2006/relationships/slideLayout" Target="../slideLayouts/slideLayout2.xml"/><Relationship Id="rId47" Type="http://schemas.openxmlformats.org/officeDocument/2006/relationships/comments" Target="../comments/comment2.xml"/><Relationship Id="rId7" Type="http://schemas.openxmlformats.org/officeDocument/2006/relationships/tags" Target="../tags/tag607.xml"/><Relationship Id="rId12" Type="http://schemas.openxmlformats.org/officeDocument/2006/relationships/tags" Target="../tags/tag612.xml"/><Relationship Id="rId17" Type="http://schemas.openxmlformats.org/officeDocument/2006/relationships/tags" Target="../tags/tag617.xml"/><Relationship Id="rId25" Type="http://schemas.openxmlformats.org/officeDocument/2006/relationships/tags" Target="../tags/tag625.xml"/><Relationship Id="rId33" Type="http://schemas.openxmlformats.org/officeDocument/2006/relationships/tags" Target="../tags/tag633.xml"/><Relationship Id="rId38" Type="http://schemas.openxmlformats.org/officeDocument/2006/relationships/tags" Target="../tags/tag638.xml"/><Relationship Id="rId46" Type="http://schemas.openxmlformats.org/officeDocument/2006/relationships/chart" Target="../charts/chart9.xml"/><Relationship Id="rId2" Type="http://schemas.openxmlformats.org/officeDocument/2006/relationships/tags" Target="../tags/tag602.xml"/><Relationship Id="rId16" Type="http://schemas.openxmlformats.org/officeDocument/2006/relationships/tags" Target="../tags/tag616.xml"/><Relationship Id="rId20" Type="http://schemas.openxmlformats.org/officeDocument/2006/relationships/tags" Target="../tags/tag620.xml"/><Relationship Id="rId29" Type="http://schemas.openxmlformats.org/officeDocument/2006/relationships/tags" Target="../tags/tag629.xml"/><Relationship Id="rId41" Type="http://schemas.openxmlformats.org/officeDocument/2006/relationships/tags" Target="../tags/tag64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06.xml"/><Relationship Id="rId11" Type="http://schemas.openxmlformats.org/officeDocument/2006/relationships/tags" Target="../tags/tag611.xml"/><Relationship Id="rId24" Type="http://schemas.openxmlformats.org/officeDocument/2006/relationships/tags" Target="../tags/tag624.xml"/><Relationship Id="rId32" Type="http://schemas.openxmlformats.org/officeDocument/2006/relationships/tags" Target="../tags/tag632.xml"/><Relationship Id="rId37" Type="http://schemas.openxmlformats.org/officeDocument/2006/relationships/tags" Target="../tags/tag637.xml"/><Relationship Id="rId40" Type="http://schemas.openxmlformats.org/officeDocument/2006/relationships/tags" Target="../tags/tag640.xml"/><Relationship Id="rId45" Type="http://schemas.openxmlformats.org/officeDocument/2006/relationships/image" Target="../media/image7.emf"/><Relationship Id="rId5" Type="http://schemas.openxmlformats.org/officeDocument/2006/relationships/tags" Target="../tags/tag605.xml"/><Relationship Id="rId15" Type="http://schemas.openxmlformats.org/officeDocument/2006/relationships/tags" Target="../tags/tag615.xml"/><Relationship Id="rId23" Type="http://schemas.openxmlformats.org/officeDocument/2006/relationships/tags" Target="../tags/tag623.xml"/><Relationship Id="rId28" Type="http://schemas.openxmlformats.org/officeDocument/2006/relationships/tags" Target="../tags/tag628.xml"/><Relationship Id="rId36" Type="http://schemas.openxmlformats.org/officeDocument/2006/relationships/tags" Target="../tags/tag636.xml"/><Relationship Id="rId10" Type="http://schemas.openxmlformats.org/officeDocument/2006/relationships/tags" Target="../tags/tag610.xml"/><Relationship Id="rId19" Type="http://schemas.openxmlformats.org/officeDocument/2006/relationships/tags" Target="../tags/tag619.xml"/><Relationship Id="rId31" Type="http://schemas.openxmlformats.org/officeDocument/2006/relationships/tags" Target="../tags/tag631.xml"/><Relationship Id="rId44" Type="http://schemas.openxmlformats.org/officeDocument/2006/relationships/oleObject" Target="../embeddings/oleObject13.bin"/><Relationship Id="rId4" Type="http://schemas.openxmlformats.org/officeDocument/2006/relationships/tags" Target="../tags/tag604.xml"/><Relationship Id="rId9" Type="http://schemas.openxmlformats.org/officeDocument/2006/relationships/tags" Target="../tags/tag609.xml"/><Relationship Id="rId14" Type="http://schemas.openxmlformats.org/officeDocument/2006/relationships/tags" Target="../tags/tag614.xml"/><Relationship Id="rId22" Type="http://schemas.openxmlformats.org/officeDocument/2006/relationships/tags" Target="../tags/tag622.xml"/><Relationship Id="rId27" Type="http://schemas.openxmlformats.org/officeDocument/2006/relationships/tags" Target="../tags/tag627.xml"/><Relationship Id="rId30" Type="http://schemas.openxmlformats.org/officeDocument/2006/relationships/tags" Target="../tags/tag630.xml"/><Relationship Id="rId35" Type="http://schemas.openxmlformats.org/officeDocument/2006/relationships/tags" Target="../tags/tag635.xml"/><Relationship Id="rId43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648.xml"/><Relationship Id="rId13" Type="http://schemas.openxmlformats.org/officeDocument/2006/relationships/tags" Target="../tags/tag653.xml"/><Relationship Id="rId18" Type="http://schemas.openxmlformats.org/officeDocument/2006/relationships/tags" Target="../tags/tag658.xml"/><Relationship Id="rId26" Type="http://schemas.openxmlformats.org/officeDocument/2006/relationships/tags" Target="../tags/tag666.xml"/><Relationship Id="rId3" Type="http://schemas.openxmlformats.org/officeDocument/2006/relationships/tags" Target="../tags/tag643.xml"/><Relationship Id="rId21" Type="http://schemas.openxmlformats.org/officeDocument/2006/relationships/tags" Target="../tags/tag661.xml"/><Relationship Id="rId34" Type="http://schemas.openxmlformats.org/officeDocument/2006/relationships/notesSlide" Target="../notesSlides/notesSlide7.xml"/><Relationship Id="rId7" Type="http://schemas.openxmlformats.org/officeDocument/2006/relationships/tags" Target="../tags/tag647.xml"/><Relationship Id="rId12" Type="http://schemas.openxmlformats.org/officeDocument/2006/relationships/tags" Target="../tags/tag652.xml"/><Relationship Id="rId17" Type="http://schemas.openxmlformats.org/officeDocument/2006/relationships/tags" Target="../tags/tag657.xml"/><Relationship Id="rId25" Type="http://schemas.openxmlformats.org/officeDocument/2006/relationships/tags" Target="../tags/tag665.xml"/><Relationship Id="rId33" Type="http://schemas.openxmlformats.org/officeDocument/2006/relationships/slideLayout" Target="../slideLayouts/slideLayout2.xml"/><Relationship Id="rId2" Type="http://schemas.openxmlformats.org/officeDocument/2006/relationships/tags" Target="../tags/tag642.xml"/><Relationship Id="rId16" Type="http://schemas.openxmlformats.org/officeDocument/2006/relationships/tags" Target="../tags/tag656.xml"/><Relationship Id="rId20" Type="http://schemas.openxmlformats.org/officeDocument/2006/relationships/tags" Target="../tags/tag660.xml"/><Relationship Id="rId29" Type="http://schemas.openxmlformats.org/officeDocument/2006/relationships/tags" Target="../tags/tag66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646.xml"/><Relationship Id="rId11" Type="http://schemas.openxmlformats.org/officeDocument/2006/relationships/tags" Target="../tags/tag651.xml"/><Relationship Id="rId24" Type="http://schemas.openxmlformats.org/officeDocument/2006/relationships/tags" Target="../tags/tag664.xml"/><Relationship Id="rId32" Type="http://schemas.openxmlformats.org/officeDocument/2006/relationships/tags" Target="../tags/tag672.xml"/><Relationship Id="rId37" Type="http://schemas.openxmlformats.org/officeDocument/2006/relationships/chart" Target="../charts/chart10.xml"/><Relationship Id="rId5" Type="http://schemas.openxmlformats.org/officeDocument/2006/relationships/tags" Target="../tags/tag645.xml"/><Relationship Id="rId15" Type="http://schemas.openxmlformats.org/officeDocument/2006/relationships/tags" Target="../tags/tag655.xml"/><Relationship Id="rId23" Type="http://schemas.openxmlformats.org/officeDocument/2006/relationships/tags" Target="../tags/tag663.xml"/><Relationship Id="rId28" Type="http://schemas.openxmlformats.org/officeDocument/2006/relationships/tags" Target="../tags/tag668.xml"/><Relationship Id="rId36" Type="http://schemas.openxmlformats.org/officeDocument/2006/relationships/image" Target="../media/image7.emf"/><Relationship Id="rId10" Type="http://schemas.openxmlformats.org/officeDocument/2006/relationships/tags" Target="../tags/tag650.xml"/><Relationship Id="rId19" Type="http://schemas.openxmlformats.org/officeDocument/2006/relationships/tags" Target="../tags/tag659.xml"/><Relationship Id="rId31" Type="http://schemas.openxmlformats.org/officeDocument/2006/relationships/tags" Target="../tags/tag671.xml"/><Relationship Id="rId4" Type="http://schemas.openxmlformats.org/officeDocument/2006/relationships/tags" Target="../tags/tag644.xml"/><Relationship Id="rId9" Type="http://schemas.openxmlformats.org/officeDocument/2006/relationships/tags" Target="../tags/tag649.xml"/><Relationship Id="rId14" Type="http://schemas.openxmlformats.org/officeDocument/2006/relationships/tags" Target="../tags/tag654.xml"/><Relationship Id="rId22" Type="http://schemas.openxmlformats.org/officeDocument/2006/relationships/tags" Target="../tags/tag662.xml"/><Relationship Id="rId27" Type="http://schemas.openxmlformats.org/officeDocument/2006/relationships/tags" Target="../tags/tag667.xml"/><Relationship Id="rId30" Type="http://schemas.openxmlformats.org/officeDocument/2006/relationships/tags" Target="../tags/tag670.xml"/><Relationship Id="rId35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79.xml"/><Relationship Id="rId13" Type="http://schemas.openxmlformats.org/officeDocument/2006/relationships/tags" Target="../tags/tag684.xml"/><Relationship Id="rId18" Type="http://schemas.openxmlformats.org/officeDocument/2006/relationships/tags" Target="../tags/tag689.xml"/><Relationship Id="rId26" Type="http://schemas.openxmlformats.org/officeDocument/2006/relationships/tags" Target="../tags/tag697.xml"/><Relationship Id="rId3" Type="http://schemas.openxmlformats.org/officeDocument/2006/relationships/tags" Target="../tags/tag674.xml"/><Relationship Id="rId21" Type="http://schemas.openxmlformats.org/officeDocument/2006/relationships/tags" Target="../tags/tag692.xml"/><Relationship Id="rId7" Type="http://schemas.openxmlformats.org/officeDocument/2006/relationships/tags" Target="../tags/tag678.xml"/><Relationship Id="rId12" Type="http://schemas.openxmlformats.org/officeDocument/2006/relationships/tags" Target="../tags/tag683.xml"/><Relationship Id="rId17" Type="http://schemas.openxmlformats.org/officeDocument/2006/relationships/tags" Target="../tags/tag688.xml"/><Relationship Id="rId25" Type="http://schemas.openxmlformats.org/officeDocument/2006/relationships/tags" Target="../tags/tag696.xml"/><Relationship Id="rId2" Type="http://schemas.openxmlformats.org/officeDocument/2006/relationships/tags" Target="../tags/tag673.xml"/><Relationship Id="rId16" Type="http://schemas.openxmlformats.org/officeDocument/2006/relationships/tags" Target="../tags/tag687.xml"/><Relationship Id="rId20" Type="http://schemas.openxmlformats.org/officeDocument/2006/relationships/tags" Target="../tags/tag691.xml"/><Relationship Id="rId29" Type="http://schemas.openxmlformats.org/officeDocument/2006/relationships/image" Target="../media/image6.emf"/><Relationship Id="rId1" Type="http://schemas.openxmlformats.org/officeDocument/2006/relationships/vmlDrawing" Target="../drawings/vmlDrawing15.vml"/><Relationship Id="rId6" Type="http://schemas.openxmlformats.org/officeDocument/2006/relationships/tags" Target="../tags/tag677.xml"/><Relationship Id="rId11" Type="http://schemas.openxmlformats.org/officeDocument/2006/relationships/tags" Target="../tags/tag682.xml"/><Relationship Id="rId24" Type="http://schemas.openxmlformats.org/officeDocument/2006/relationships/tags" Target="../tags/tag695.xml"/><Relationship Id="rId5" Type="http://schemas.openxmlformats.org/officeDocument/2006/relationships/tags" Target="../tags/tag676.xml"/><Relationship Id="rId15" Type="http://schemas.openxmlformats.org/officeDocument/2006/relationships/tags" Target="../tags/tag686.xml"/><Relationship Id="rId23" Type="http://schemas.openxmlformats.org/officeDocument/2006/relationships/tags" Target="../tags/tag694.xml"/><Relationship Id="rId28" Type="http://schemas.openxmlformats.org/officeDocument/2006/relationships/oleObject" Target="../embeddings/oleObject15.bin"/><Relationship Id="rId10" Type="http://schemas.openxmlformats.org/officeDocument/2006/relationships/tags" Target="../tags/tag681.xml"/><Relationship Id="rId19" Type="http://schemas.openxmlformats.org/officeDocument/2006/relationships/tags" Target="../tags/tag690.xml"/><Relationship Id="rId4" Type="http://schemas.openxmlformats.org/officeDocument/2006/relationships/tags" Target="../tags/tag675.xml"/><Relationship Id="rId9" Type="http://schemas.openxmlformats.org/officeDocument/2006/relationships/tags" Target="../tags/tag680.xml"/><Relationship Id="rId14" Type="http://schemas.openxmlformats.org/officeDocument/2006/relationships/tags" Target="../tags/tag685.xml"/><Relationship Id="rId22" Type="http://schemas.openxmlformats.org/officeDocument/2006/relationships/tags" Target="../tags/tag693.xml"/><Relationship Id="rId27" Type="http://schemas.openxmlformats.org/officeDocument/2006/relationships/slideLayout" Target="../slideLayouts/slideLayout2.xml"/><Relationship Id="rId30" Type="http://schemas.openxmlformats.org/officeDocument/2006/relationships/chart" Target="../charts/char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704.xml"/><Relationship Id="rId13" Type="http://schemas.openxmlformats.org/officeDocument/2006/relationships/tags" Target="../tags/tag709.xml"/><Relationship Id="rId18" Type="http://schemas.openxmlformats.org/officeDocument/2006/relationships/tags" Target="../tags/tag714.xml"/><Relationship Id="rId26" Type="http://schemas.openxmlformats.org/officeDocument/2006/relationships/tags" Target="../tags/tag722.xml"/><Relationship Id="rId39" Type="http://schemas.openxmlformats.org/officeDocument/2006/relationships/tags" Target="../tags/tag735.xml"/><Relationship Id="rId3" Type="http://schemas.openxmlformats.org/officeDocument/2006/relationships/tags" Target="../tags/tag699.xml"/><Relationship Id="rId21" Type="http://schemas.openxmlformats.org/officeDocument/2006/relationships/tags" Target="../tags/tag717.xml"/><Relationship Id="rId34" Type="http://schemas.openxmlformats.org/officeDocument/2006/relationships/tags" Target="../tags/tag730.xml"/><Relationship Id="rId42" Type="http://schemas.openxmlformats.org/officeDocument/2006/relationships/slideLayout" Target="../slideLayouts/slideLayout2.xml"/><Relationship Id="rId7" Type="http://schemas.openxmlformats.org/officeDocument/2006/relationships/tags" Target="../tags/tag703.xml"/><Relationship Id="rId12" Type="http://schemas.openxmlformats.org/officeDocument/2006/relationships/tags" Target="../tags/tag708.xml"/><Relationship Id="rId17" Type="http://schemas.openxmlformats.org/officeDocument/2006/relationships/tags" Target="../tags/tag713.xml"/><Relationship Id="rId25" Type="http://schemas.openxmlformats.org/officeDocument/2006/relationships/tags" Target="../tags/tag721.xml"/><Relationship Id="rId33" Type="http://schemas.openxmlformats.org/officeDocument/2006/relationships/tags" Target="../tags/tag729.xml"/><Relationship Id="rId38" Type="http://schemas.openxmlformats.org/officeDocument/2006/relationships/tags" Target="../tags/tag734.xml"/><Relationship Id="rId46" Type="http://schemas.openxmlformats.org/officeDocument/2006/relationships/chart" Target="../charts/chart12.xml"/><Relationship Id="rId2" Type="http://schemas.openxmlformats.org/officeDocument/2006/relationships/tags" Target="../tags/tag698.xml"/><Relationship Id="rId16" Type="http://schemas.openxmlformats.org/officeDocument/2006/relationships/tags" Target="../tags/tag712.xml"/><Relationship Id="rId20" Type="http://schemas.openxmlformats.org/officeDocument/2006/relationships/tags" Target="../tags/tag716.xml"/><Relationship Id="rId29" Type="http://schemas.openxmlformats.org/officeDocument/2006/relationships/tags" Target="../tags/tag725.xml"/><Relationship Id="rId41" Type="http://schemas.openxmlformats.org/officeDocument/2006/relationships/tags" Target="../tags/tag73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702.xml"/><Relationship Id="rId11" Type="http://schemas.openxmlformats.org/officeDocument/2006/relationships/tags" Target="../tags/tag707.xml"/><Relationship Id="rId24" Type="http://schemas.openxmlformats.org/officeDocument/2006/relationships/tags" Target="../tags/tag720.xml"/><Relationship Id="rId32" Type="http://schemas.openxmlformats.org/officeDocument/2006/relationships/tags" Target="../tags/tag728.xml"/><Relationship Id="rId37" Type="http://schemas.openxmlformats.org/officeDocument/2006/relationships/tags" Target="../tags/tag733.xml"/><Relationship Id="rId40" Type="http://schemas.openxmlformats.org/officeDocument/2006/relationships/tags" Target="../tags/tag736.xml"/><Relationship Id="rId45" Type="http://schemas.openxmlformats.org/officeDocument/2006/relationships/image" Target="../media/image7.emf"/><Relationship Id="rId5" Type="http://schemas.openxmlformats.org/officeDocument/2006/relationships/tags" Target="../tags/tag701.xml"/><Relationship Id="rId15" Type="http://schemas.openxmlformats.org/officeDocument/2006/relationships/tags" Target="../tags/tag711.xml"/><Relationship Id="rId23" Type="http://schemas.openxmlformats.org/officeDocument/2006/relationships/tags" Target="../tags/tag719.xml"/><Relationship Id="rId28" Type="http://schemas.openxmlformats.org/officeDocument/2006/relationships/tags" Target="../tags/tag724.xml"/><Relationship Id="rId36" Type="http://schemas.openxmlformats.org/officeDocument/2006/relationships/tags" Target="../tags/tag732.xml"/><Relationship Id="rId10" Type="http://schemas.openxmlformats.org/officeDocument/2006/relationships/tags" Target="../tags/tag706.xml"/><Relationship Id="rId19" Type="http://schemas.openxmlformats.org/officeDocument/2006/relationships/tags" Target="../tags/tag715.xml"/><Relationship Id="rId31" Type="http://schemas.openxmlformats.org/officeDocument/2006/relationships/tags" Target="../tags/tag727.xml"/><Relationship Id="rId44" Type="http://schemas.openxmlformats.org/officeDocument/2006/relationships/oleObject" Target="../embeddings/oleObject16.bin"/><Relationship Id="rId4" Type="http://schemas.openxmlformats.org/officeDocument/2006/relationships/tags" Target="../tags/tag700.xml"/><Relationship Id="rId9" Type="http://schemas.openxmlformats.org/officeDocument/2006/relationships/tags" Target="../tags/tag705.xml"/><Relationship Id="rId14" Type="http://schemas.openxmlformats.org/officeDocument/2006/relationships/tags" Target="../tags/tag710.xml"/><Relationship Id="rId22" Type="http://schemas.openxmlformats.org/officeDocument/2006/relationships/tags" Target="../tags/tag718.xml"/><Relationship Id="rId27" Type="http://schemas.openxmlformats.org/officeDocument/2006/relationships/tags" Target="../tags/tag723.xml"/><Relationship Id="rId30" Type="http://schemas.openxmlformats.org/officeDocument/2006/relationships/tags" Target="../tags/tag726.xml"/><Relationship Id="rId35" Type="http://schemas.openxmlformats.org/officeDocument/2006/relationships/tags" Target="../tags/tag731.xml"/><Relationship Id="rId43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44.xml"/><Relationship Id="rId13" Type="http://schemas.openxmlformats.org/officeDocument/2006/relationships/tags" Target="../tags/tag749.xml"/><Relationship Id="rId18" Type="http://schemas.openxmlformats.org/officeDocument/2006/relationships/tags" Target="../tags/tag754.xml"/><Relationship Id="rId26" Type="http://schemas.openxmlformats.org/officeDocument/2006/relationships/tags" Target="../tags/tag762.xml"/><Relationship Id="rId3" Type="http://schemas.openxmlformats.org/officeDocument/2006/relationships/tags" Target="../tags/tag739.xml"/><Relationship Id="rId21" Type="http://schemas.openxmlformats.org/officeDocument/2006/relationships/tags" Target="../tags/tag757.xml"/><Relationship Id="rId34" Type="http://schemas.openxmlformats.org/officeDocument/2006/relationships/notesSlide" Target="../notesSlides/notesSlide9.xml"/><Relationship Id="rId7" Type="http://schemas.openxmlformats.org/officeDocument/2006/relationships/tags" Target="../tags/tag743.xml"/><Relationship Id="rId12" Type="http://schemas.openxmlformats.org/officeDocument/2006/relationships/tags" Target="../tags/tag748.xml"/><Relationship Id="rId17" Type="http://schemas.openxmlformats.org/officeDocument/2006/relationships/tags" Target="../tags/tag753.xml"/><Relationship Id="rId25" Type="http://schemas.openxmlformats.org/officeDocument/2006/relationships/tags" Target="../tags/tag761.xml"/><Relationship Id="rId33" Type="http://schemas.openxmlformats.org/officeDocument/2006/relationships/slideLayout" Target="../slideLayouts/slideLayout2.xml"/><Relationship Id="rId2" Type="http://schemas.openxmlformats.org/officeDocument/2006/relationships/tags" Target="../tags/tag738.xml"/><Relationship Id="rId16" Type="http://schemas.openxmlformats.org/officeDocument/2006/relationships/tags" Target="../tags/tag752.xml"/><Relationship Id="rId20" Type="http://schemas.openxmlformats.org/officeDocument/2006/relationships/tags" Target="../tags/tag756.xml"/><Relationship Id="rId29" Type="http://schemas.openxmlformats.org/officeDocument/2006/relationships/tags" Target="../tags/tag76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742.xml"/><Relationship Id="rId11" Type="http://schemas.openxmlformats.org/officeDocument/2006/relationships/tags" Target="../tags/tag747.xml"/><Relationship Id="rId24" Type="http://schemas.openxmlformats.org/officeDocument/2006/relationships/tags" Target="../tags/tag760.xml"/><Relationship Id="rId32" Type="http://schemas.openxmlformats.org/officeDocument/2006/relationships/tags" Target="../tags/tag768.xml"/><Relationship Id="rId37" Type="http://schemas.openxmlformats.org/officeDocument/2006/relationships/chart" Target="../charts/chart13.xml"/><Relationship Id="rId5" Type="http://schemas.openxmlformats.org/officeDocument/2006/relationships/tags" Target="../tags/tag741.xml"/><Relationship Id="rId15" Type="http://schemas.openxmlformats.org/officeDocument/2006/relationships/tags" Target="../tags/tag751.xml"/><Relationship Id="rId23" Type="http://schemas.openxmlformats.org/officeDocument/2006/relationships/tags" Target="../tags/tag759.xml"/><Relationship Id="rId28" Type="http://schemas.openxmlformats.org/officeDocument/2006/relationships/tags" Target="../tags/tag764.xml"/><Relationship Id="rId36" Type="http://schemas.openxmlformats.org/officeDocument/2006/relationships/image" Target="../media/image7.emf"/><Relationship Id="rId10" Type="http://schemas.openxmlformats.org/officeDocument/2006/relationships/tags" Target="../tags/tag746.xml"/><Relationship Id="rId19" Type="http://schemas.openxmlformats.org/officeDocument/2006/relationships/tags" Target="../tags/tag755.xml"/><Relationship Id="rId31" Type="http://schemas.openxmlformats.org/officeDocument/2006/relationships/tags" Target="../tags/tag767.xml"/><Relationship Id="rId4" Type="http://schemas.openxmlformats.org/officeDocument/2006/relationships/tags" Target="../tags/tag740.xml"/><Relationship Id="rId9" Type="http://schemas.openxmlformats.org/officeDocument/2006/relationships/tags" Target="../tags/tag745.xml"/><Relationship Id="rId14" Type="http://schemas.openxmlformats.org/officeDocument/2006/relationships/tags" Target="../tags/tag750.xml"/><Relationship Id="rId22" Type="http://schemas.openxmlformats.org/officeDocument/2006/relationships/tags" Target="../tags/tag758.xml"/><Relationship Id="rId27" Type="http://schemas.openxmlformats.org/officeDocument/2006/relationships/tags" Target="../tags/tag763.xml"/><Relationship Id="rId30" Type="http://schemas.openxmlformats.org/officeDocument/2006/relationships/tags" Target="../tags/tag766.xml"/><Relationship Id="rId35" Type="http://schemas.openxmlformats.org/officeDocument/2006/relationships/oleObject" Target="../embeddings/oleObject17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75.xml"/><Relationship Id="rId13" Type="http://schemas.openxmlformats.org/officeDocument/2006/relationships/tags" Target="../tags/tag780.xml"/><Relationship Id="rId18" Type="http://schemas.openxmlformats.org/officeDocument/2006/relationships/tags" Target="../tags/tag785.xml"/><Relationship Id="rId26" Type="http://schemas.openxmlformats.org/officeDocument/2006/relationships/tags" Target="../tags/tag793.xml"/><Relationship Id="rId3" Type="http://schemas.openxmlformats.org/officeDocument/2006/relationships/tags" Target="../tags/tag770.xml"/><Relationship Id="rId21" Type="http://schemas.openxmlformats.org/officeDocument/2006/relationships/tags" Target="../tags/tag788.xml"/><Relationship Id="rId7" Type="http://schemas.openxmlformats.org/officeDocument/2006/relationships/tags" Target="../tags/tag774.xml"/><Relationship Id="rId12" Type="http://schemas.openxmlformats.org/officeDocument/2006/relationships/tags" Target="../tags/tag779.xml"/><Relationship Id="rId17" Type="http://schemas.openxmlformats.org/officeDocument/2006/relationships/tags" Target="../tags/tag784.xml"/><Relationship Id="rId25" Type="http://schemas.openxmlformats.org/officeDocument/2006/relationships/tags" Target="../tags/tag792.xml"/><Relationship Id="rId2" Type="http://schemas.openxmlformats.org/officeDocument/2006/relationships/tags" Target="../tags/tag769.xml"/><Relationship Id="rId16" Type="http://schemas.openxmlformats.org/officeDocument/2006/relationships/tags" Target="../tags/tag783.xml"/><Relationship Id="rId20" Type="http://schemas.openxmlformats.org/officeDocument/2006/relationships/tags" Target="../tags/tag787.xml"/><Relationship Id="rId29" Type="http://schemas.openxmlformats.org/officeDocument/2006/relationships/image" Target="../media/image6.emf"/><Relationship Id="rId1" Type="http://schemas.openxmlformats.org/officeDocument/2006/relationships/vmlDrawing" Target="../drawings/vmlDrawing18.vml"/><Relationship Id="rId6" Type="http://schemas.openxmlformats.org/officeDocument/2006/relationships/tags" Target="../tags/tag773.xml"/><Relationship Id="rId11" Type="http://schemas.openxmlformats.org/officeDocument/2006/relationships/tags" Target="../tags/tag778.xml"/><Relationship Id="rId24" Type="http://schemas.openxmlformats.org/officeDocument/2006/relationships/tags" Target="../tags/tag791.xml"/><Relationship Id="rId5" Type="http://schemas.openxmlformats.org/officeDocument/2006/relationships/tags" Target="../tags/tag772.xml"/><Relationship Id="rId15" Type="http://schemas.openxmlformats.org/officeDocument/2006/relationships/tags" Target="../tags/tag782.xml"/><Relationship Id="rId23" Type="http://schemas.openxmlformats.org/officeDocument/2006/relationships/tags" Target="../tags/tag790.xml"/><Relationship Id="rId28" Type="http://schemas.openxmlformats.org/officeDocument/2006/relationships/oleObject" Target="../embeddings/oleObject18.bin"/><Relationship Id="rId10" Type="http://schemas.openxmlformats.org/officeDocument/2006/relationships/tags" Target="../tags/tag777.xml"/><Relationship Id="rId19" Type="http://schemas.openxmlformats.org/officeDocument/2006/relationships/tags" Target="../tags/tag786.xml"/><Relationship Id="rId4" Type="http://schemas.openxmlformats.org/officeDocument/2006/relationships/tags" Target="../tags/tag771.xml"/><Relationship Id="rId9" Type="http://schemas.openxmlformats.org/officeDocument/2006/relationships/tags" Target="../tags/tag776.xml"/><Relationship Id="rId14" Type="http://schemas.openxmlformats.org/officeDocument/2006/relationships/tags" Target="../tags/tag781.xml"/><Relationship Id="rId22" Type="http://schemas.openxmlformats.org/officeDocument/2006/relationships/tags" Target="../tags/tag789.xml"/><Relationship Id="rId27" Type="http://schemas.openxmlformats.org/officeDocument/2006/relationships/slideLayout" Target="../slideLayouts/slideLayout2.xml"/><Relationship Id="rId30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795.xml"/><Relationship Id="rId7" Type="http://schemas.openxmlformats.org/officeDocument/2006/relationships/image" Target="../media/image6.emf"/><Relationship Id="rId2" Type="http://schemas.openxmlformats.org/officeDocument/2006/relationships/tags" Target="../tags/tag79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Relationship Id="rId9" Type="http://schemas.openxmlformats.org/officeDocument/2006/relationships/comments" Target="../comments/commen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797.xml"/><Relationship Id="rId7" Type="http://schemas.openxmlformats.org/officeDocument/2006/relationships/image" Target="../media/image6.emf"/><Relationship Id="rId2" Type="http://schemas.openxmlformats.org/officeDocument/2006/relationships/tags" Target="../tags/tag79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99.xml"/><Relationship Id="rId7" Type="http://schemas.openxmlformats.org/officeDocument/2006/relationships/image" Target="../media/image6.emf"/><Relationship Id="rId2" Type="http://schemas.openxmlformats.org/officeDocument/2006/relationships/tags" Target="../tags/tag79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5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tags" Target="../tags/tag51.xml"/><Relationship Id="rId47" Type="http://schemas.openxmlformats.org/officeDocument/2006/relationships/tags" Target="../tags/tag56.xml"/><Relationship Id="rId50" Type="http://schemas.openxmlformats.org/officeDocument/2006/relationships/tags" Target="../tags/tag59.xml"/><Relationship Id="rId55" Type="http://schemas.openxmlformats.org/officeDocument/2006/relationships/tags" Target="../tags/tag64.xml"/><Relationship Id="rId63" Type="http://schemas.openxmlformats.org/officeDocument/2006/relationships/tags" Target="../tags/tag72.xml"/><Relationship Id="rId68" Type="http://schemas.openxmlformats.org/officeDocument/2006/relationships/tags" Target="../tags/tag77.xml"/><Relationship Id="rId76" Type="http://schemas.openxmlformats.org/officeDocument/2006/relationships/tags" Target="../tags/tag85.xml"/><Relationship Id="rId84" Type="http://schemas.openxmlformats.org/officeDocument/2006/relationships/tags" Target="../tags/tag93.xml"/><Relationship Id="rId89" Type="http://schemas.openxmlformats.org/officeDocument/2006/relationships/tags" Target="../tags/tag98.xml"/><Relationship Id="rId97" Type="http://schemas.openxmlformats.org/officeDocument/2006/relationships/tags" Target="../tags/tag106.xml"/><Relationship Id="rId7" Type="http://schemas.openxmlformats.org/officeDocument/2006/relationships/tags" Target="../tags/tag16.xml"/><Relationship Id="rId71" Type="http://schemas.openxmlformats.org/officeDocument/2006/relationships/tags" Target="../tags/tag80.xml"/><Relationship Id="rId92" Type="http://schemas.openxmlformats.org/officeDocument/2006/relationships/tags" Target="../tags/tag101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9" Type="http://schemas.openxmlformats.org/officeDocument/2006/relationships/tags" Target="../tags/tag38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53" Type="http://schemas.openxmlformats.org/officeDocument/2006/relationships/tags" Target="../tags/tag62.xml"/><Relationship Id="rId58" Type="http://schemas.openxmlformats.org/officeDocument/2006/relationships/tags" Target="../tags/tag67.xml"/><Relationship Id="rId66" Type="http://schemas.openxmlformats.org/officeDocument/2006/relationships/tags" Target="../tags/tag75.xml"/><Relationship Id="rId74" Type="http://schemas.openxmlformats.org/officeDocument/2006/relationships/tags" Target="../tags/tag83.xml"/><Relationship Id="rId79" Type="http://schemas.openxmlformats.org/officeDocument/2006/relationships/tags" Target="../tags/tag88.xml"/><Relationship Id="rId87" Type="http://schemas.openxmlformats.org/officeDocument/2006/relationships/tags" Target="../tags/tag96.xml"/><Relationship Id="rId102" Type="http://schemas.openxmlformats.org/officeDocument/2006/relationships/chart" Target="../charts/chart2.xml"/><Relationship Id="rId5" Type="http://schemas.openxmlformats.org/officeDocument/2006/relationships/tags" Target="../tags/tag14.xml"/><Relationship Id="rId61" Type="http://schemas.openxmlformats.org/officeDocument/2006/relationships/tags" Target="../tags/tag70.xml"/><Relationship Id="rId82" Type="http://schemas.openxmlformats.org/officeDocument/2006/relationships/tags" Target="../tags/tag91.xml"/><Relationship Id="rId90" Type="http://schemas.openxmlformats.org/officeDocument/2006/relationships/tags" Target="../tags/tag99.xml"/><Relationship Id="rId95" Type="http://schemas.openxmlformats.org/officeDocument/2006/relationships/tags" Target="../tags/tag104.xml"/><Relationship Id="rId19" Type="http://schemas.openxmlformats.org/officeDocument/2006/relationships/tags" Target="../tags/tag2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tags" Target="../tags/tag52.xml"/><Relationship Id="rId48" Type="http://schemas.openxmlformats.org/officeDocument/2006/relationships/tags" Target="../tags/tag57.xml"/><Relationship Id="rId56" Type="http://schemas.openxmlformats.org/officeDocument/2006/relationships/tags" Target="../tags/tag65.xml"/><Relationship Id="rId64" Type="http://schemas.openxmlformats.org/officeDocument/2006/relationships/tags" Target="../tags/tag73.xml"/><Relationship Id="rId69" Type="http://schemas.openxmlformats.org/officeDocument/2006/relationships/tags" Target="../tags/tag78.xml"/><Relationship Id="rId77" Type="http://schemas.openxmlformats.org/officeDocument/2006/relationships/tags" Target="../tags/tag86.xml"/><Relationship Id="rId100" Type="http://schemas.openxmlformats.org/officeDocument/2006/relationships/oleObject" Target="../embeddings/oleObject6.bin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72" Type="http://schemas.openxmlformats.org/officeDocument/2006/relationships/tags" Target="../tags/tag81.xml"/><Relationship Id="rId80" Type="http://schemas.openxmlformats.org/officeDocument/2006/relationships/tags" Target="../tags/tag89.xml"/><Relationship Id="rId85" Type="http://schemas.openxmlformats.org/officeDocument/2006/relationships/tags" Target="../tags/tag94.xml"/><Relationship Id="rId93" Type="http://schemas.openxmlformats.org/officeDocument/2006/relationships/tags" Target="../tags/tag102.xml"/><Relationship Id="rId98" Type="http://schemas.openxmlformats.org/officeDocument/2006/relationships/tags" Target="../tags/tag107.xml"/><Relationship Id="rId3" Type="http://schemas.openxmlformats.org/officeDocument/2006/relationships/tags" Target="../tags/tag12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tags" Target="../tags/tag55.xml"/><Relationship Id="rId59" Type="http://schemas.openxmlformats.org/officeDocument/2006/relationships/tags" Target="../tags/tag68.xml"/><Relationship Id="rId67" Type="http://schemas.openxmlformats.org/officeDocument/2006/relationships/tags" Target="../tags/tag76.xml"/><Relationship Id="rId20" Type="http://schemas.openxmlformats.org/officeDocument/2006/relationships/tags" Target="../tags/tag29.xml"/><Relationship Id="rId41" Type="http://schemas.openxmlformats.org/officeDocument/2006/relationships/tags" Target="../tags/tag50.xml"/><Relationship Id="rId54" Type="http://schemas.openxmlformats.org/officeDocument/2006/relationships/tags" Target="../tags/tag63.xml"/><Relationship Id="rId62" Type="http://schemas.openxmlformats.org/officeDocument/2006/relationships/tags" Target="../tags/tag71.xml"/><Relationship Id="rId70" Type="http://schemas.openxmlformats.org/officeDocument/2006/relationships/tags" Target="../tags/tag79.xml"/><Relationship Id="rId75" Type="http://schemas.openxmlformats.org/officeDocument/2006/relationships/tags" Target="../tags/tag84.xml"/><Relationship Id="rId83" Type="http://schemas.openxmlformats.org/officeDocument/2006/relationships/tags" Target="../tags/tag92.xml"/><Relationship Id="rId88" Type="http://schemas.openxmlformats.org/officeDocument/2006/relationships/tags" Target="../tags/tag97.xml"/><Relationship Id="rId91" Type="http://schemas.openxmlformats.org/officeDocument/2006/relationships/tags" Target="../tags/tag100.xml"/><Relationship Id="rId96" Type="http://schemas.openxmlformats.org/officeDocument/2006/relationships/tags" Target="../tags/tag105.xml"/><Relationship Id="rId1" Type="http://schemas.openxmlformats.org/officeDocument/2006/relationships/vmlDrawing" Target="../drawings/vmlDrawing6.vml"/><Relationship Id="rId6" Type="http://schemas.openxmlformats.org/officeDocument/2006/relationships/tags" Target="../tags/tag15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tags" Target="../tags/tag58.xml"/><Relationship Id="rId57" Type="http://schemas.openxmlformats.org/officeDocument/2006/relationships/tags" Target="../tags/tag66.xml"/><Relationship Id="rId10" Type="http://schemas.openxmlformats.org/officeDocument/2006/relationships/tags" Target="../tags/tag19.xml"/><Relationship Id="rId31" Type="http://schemas.openxmlformats.org/officeDocument/2006/relationships/tags" Target="../tags/tag40.xml"/><Relationship Id="rId44" Type="http://schemas.openxmlformats.org/officeDocument/2006/relationships/tags" Target="../tags/tag53.xml"/><Relationship Id="rId52" Type="http://schemas.openxmlformats.org/officeDocument/2006/relationships/tags" Target="../tags/tag61.xml"/><Relationship Id="rId60" Type="http://schemas.openxmlformats.org/officeDocument/2006/relationships/tags" Target="../tags/tag69.xml"/><Relationship Id="rId65" Type="http://schemas.openxmlformats.org/officeDocument/2006/relationships/tags" Target="../tags/tag74.xml"/><Relationship Id="rId73" Type="http://schemas.openxmlformats.org/officeDocument/2006/relationships/tags" Target="../tags/tag82.xml"/><Relationship Id="rId78" Type="http://schemas.openxmlformats.org/officeDocument/2006/relationships/tags" Target="../tags/tag87.xml"/><Relationship Id="rId81" Type="http://schemas.openxmlformats.org/officeDocument/2006/relationships/tags" Target="../tags/tag90.xml"/><Relationship Id="rId86" Type="http://schemas.openxmlformats.org/officeDocument/2006/relationships/tags" Target="../tags/tag95.xml"/><Relationship Id="rId94" Type="http://schemas.openxmlformats.org/officeDocument/2006/relationships/tags" Target="../tags/tag103.xml"/><Relationship Id="rId99" Type="http://schemas.openxmlformats.org/officeDocument/2006/relationships/slideLayout" Target="../slideLayouts/slideLayout2.xml"/><Relationship Id="rId101" Type="http://schemas.openxmlformats.org/officeDocument/2006/relationships/image" Target="../media/image6.emf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9" Type="http://schemas.openxmlformats.org/officeDocument/2006/relationships/tags" Target="../tags/tag48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32.xml"/><Relationship Id="rId117" Type="http://schemas.openxmlformats.org/officeDocument/2006/relationships/tags" Target="../tags/tag223.xml"/><Relationship Id="rId21" Type="http://schemas.openxmlformats.org/officeDocument/2006/relationships/tags" Target="../tags/tag127.xml"/><Relationship Id="rId42" Type="http://schemas.openxmlformats.org/officeDocument/2006/relationships/tags" Target="../tags/tag148.xml"/><Relationship Id="rId47" Type="http://schemas.openxmlformats.org/officeDocument/2006/relationships/tags" Target="../tags/tag153.xml"/><Relationship Id="rId63" Type="http://schemas.openxmlformats.org/officeDocument/2006/relationships/tags" Target="../tags/tag169.xml"/><Relationship Id="rId68" Type="http://schemas.openxmlformats.org/officeDocument/2006/relationships/tags" Target="../tags/tag174.xml"/><Relationship Id="rId84" Type="http://schemas.openxmlformats.org/officeDocument/2006/relationships/tags" Target="../tags/tag190.xml"/><Relationship Id="rId89" Type="http://schemas.openxmlformats.org/officeDocument/2006/relationships/tags" Target="../tags/tag195.xml"/><Relationship Id="rId112" Type="http://schemas.openxmlformats.org/officeDocument/2006/relationships/tags" Target="../tags/tag218.xml"/><Relationship Id="rId133" Type="http://schemas.openxmlformats.org/officeDocument/2006/relationships/tags" Target="../tags/tag239.xml"/><Relationship Id="rId138" Type="http://schemas.openxmlformats.org/officeDocument/2006/relationships/tags" Target="../tags/tag244.xml"/><Relationship Id="rId154" Type="http://schemas.openxmlformats.org/officeDocument/2006/relationships/tags" Target="../tags/tag260.xml"/><Relationship Id="rId159" Type="http://schemas.openxmlformats.org/officeDocument/2006/relationships/tags" Target="../tags/tag265.xml"/><Relationship Id="rId175" Type="http://schemas.openxmlformats.org/officeDocument/2006/relationships/tags" Target="../tags/tag281.xml"/><Relationship Id="rId170" Type="http://schemas.openxmlformats.org/officeDocument/2006/relationships/tags" Target="../tags/tag276.xml"/><Relationship Id="rId16" Type="http://schemas.openxmlformats.org/officeDocument/2006/relationships/tags" Target="../tags/tag122.xml"/><Relationship Id="rId107" Type="http://schemas.openxmlformats.org/officeDocument/2006/relationships/tags" Target="../tags/tag213.xml"/><Relationship Id="rId11" Type="http://schemas.openxmlformats.org/officeDocument/2006/relationships/tags" Target="../tags/tag117.xml"/><Relationship Id="rId32" Type="http://schemas.openxmlformats.org/officeDocument/2006/relationships/tags" Target="../tags/tag138.xml"/><Relationship Id="rId37" Type="http://schemas.openxmlformats.org/officeDocument/2006/relationships/tags" Target="../tags/tag143.xml"/><Relationship Id="rId53" Type="http://schemas.openxmlformats.org/officeDocument/2006/relationships/tags" Target="../tags/tag159.xml"/><Relationship Id="rId58" Type="http://schemas.openxmlformats.org/officeDocument/2006/relationships/tags" Target="../tags/tag164.xml"/><Relationship Id="rId74" Type="http://schemas.openxmlformats.org/officeDocument/2006/relationships/tags" Target="../tags/tag180.xml"/><Relationship Id="rId79" Type="http://schemas.openxmlformats.org/officeDocument/2006/relationships/tags" Target="../tags/tag185.xml"/><Relationship Id="rId102" Type="http://schemas.openxmlformats.org/officeDocument/2006/relationships/tags" Target="../tags/tag208.xml"/><Relationship Id="rId123" Type="http://schemas.openxmlformats.org/officeDocument/2006/relationships/tags" Target="../tags/tag229.xml"/><Relationship Id="rId128" Type="http://schemas.openxmlformats.org/officeDocument/2006/relationships/tags" Target="../tags/tag234.xml"/><Relationship Id="rId144" Type="http://schemas.openxmlformats.org/officeDocument/2006/relationships/tags" Target="../tags/tag250.xml"/><Relationship Id="rId149" Type="http://schemas.openxmlformats.org/officeDocument/2006/relationships/tags" Target="../tags/tag255.xml"/><Relationship Id="rId5" Type="http://schemas.openxmlformats.org/officeDocument/2006/relationships/tags" Target="../tags/tag111.xml"/><Relationship Id="rId90" Type="http://schemas.openxmlformats.org/officeDocument/2006/relationships/tags" Target="../tags/tag196.xml"/><Relationship Id="rId95" Type="http://schemas.openxmlformats.org/officeDocument/2006/relationships/tags" Target="../tags/tag201.xml"/><Relationship Id="rId160" Type="http://schemas.openxmlformats.org/officeDocument/2006/relationships/tags" Target="../tags/tag266.xml"/><Relationship Id="rId165" Type="http://schemas.openxmlformats.org/officeDocument/2006/relationships/tags" Target="../tags/tag271.xml"/><Relationship Id="rId181" Type="http://schemas.openxmlformats.org/officeDocument/2006/relationships/tags" Target="../tags/tag287.xml"/><Relationship Id="rId186" Type="http://schemas.openxmlformats.org/officeDocument/2006/relationships/chart" Target="../charts/chart3.xml"/><Relationship Id="rId22" Type="http://schemas.openxmlformats.org/officeDocument/2006/relationships/tags" Target="../tags/tag128.xml"/><Relationship Id="rId27" Type="http://schemas.openxmlformats.org/officeDocument/2006/relationships/tags" Target="../tags/tag133.xml"/><Relationship Id="rId43" Type="http://schemas.openxmlformats.org/officeDocument/2006/relationships/tags" Target="../tags/tag149.xml"/><Relationship Id="rId48" Type="http://schemas.openxmlformats.org/officeDocument/2006/relationships/tags" Target="../tags/tag154.xml"/><Relationship Id="rId64" Type="http://schemas.openxmlformats.org/officeDocument/2006/relationships/tags" Target="../tags/tag170.xml"/><Relationship Id="rId69" Type="http://schemas.openxmlformats.org/officeDocument/2006/relationships/tags" Target="../tags/tag175.xml"/><Relationship Id="rId113" Type="http://schemas.openxmlformats.org/officeDocument/2006/relationships/tags" Target="../tags/tag219.xml"/><Relationship Id="rId118" Type="http://schemas.openxmlformats.org/officeDocument/2006/relationships/tags" Target="../tags/tag224.xml"/><Relationship Id="rId134" Type="http://schemas.openxmlformats.org/officeDocument/2006/relationships/tags" Target="../tags/tag240.xml"/><Relationship Id="rId139" Type="http://schemas.openxmlformats.org/officeDocument/2006/relationships/tags" Target="../tags/tag245.xml"/><Relationship Id="rId80" Type="http://schemas.openxmlformats.org/officeDocument/2006/relationships/tags" Target="../tags/tag186.xml"/><Relationship Id="rId85" Type="http://schemas.openxmlformats.org/officeDocument/2006/relationships/tags" Target="../tags/tag191.xml"/><Relationship Id="rId150" Type="http://schemas.openxmlformats.org/officeDocument/2006/relationships/tags" Target="../tags/tag256.xml"/><Relationship Id="rId155" Type="http://schemas.openxmlformats.org/officeDocument/2006/relationships/tags" Target="../tags/tag261.xml"/><Relationship Id="rId171" Type="http://schemas.openxmlformats.org/officeDocument/2006/relationships/tags" Target="../tags/tag277.xml"/><Relationship Id="rId176" Type="http://schemas.openxmlformats.org/officeDocument/2006/relationships/tags" Target="../tags/tag282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33" Type="http://schemas.openxmlformats.org/officeDocument/2006/relationships/tags" Target="../tags/tag139.xml"/><Relationship Id="rId38" Type="http://schemas.openxmlformats.org/officeDocument/2006/relationships/tags" Target="../tags/tag144.xml"/><Relationship Id="rId59" Type="http://schemas.openxmlformats.org/officeDocument/2006/relationships/tags" Target="../tags/tag165.xml"/><Relationship Id="rId103" Type="http://schemas.openxmlformats.org/officeDocument/2006/relationships/tags" Target="../tags/tag209.xml"/><Relationship Id="rId108" Type="http://schemas.openxmlformats.org/officeDocument/2006/relationships/tags" Target="../tags/tag214.xml"/><Relationship Id="rId124" Type="http://schemas.openxmlformats.org/officeDocument/2006/relationships/tags" Target="../tags/tag230.xml"/><Relationship Id="rId129" Type="http://schemas.openxmlformats.org/officeDocument/2006/relationships/tags" Target="../tags/tag235.xml"/><Relationship Id="rId54" Type="http://schemas.openxmlformats.org/officeDocument/2006/relationships/tags" Target="../tags/tag160.xml"/><Relationship Id="rId70" Type="http://schemas.openxmlformats.org/officeDocument/2006/relationships/tags" Target="../tags/tag176.xml"/><Relationship Id="rId75" Type="http://schemas.openxmlformats.org/officeDocument/2006/relationships/tags" Target="../tags/tag181.xml"/><Relationship Id="rId91" Type="http://schemas.openxmlformats.org/officeDocument/2006/relationships/tags" Target="../tags/tag197.xml"/><Relationship Id="rId96" Type="http://schemas.openxmlformats.org/officeDocument/2006/relationships/tags" Target="../tags/tag202.xml"/><Relationship Id="rId140" Type="http://schemas.openxmlformats.org/officeDocument/2006/relationships/tags" Target="../tags/tag246.xml"/><Relationship Id="rId145" Type="http://schemas.openxmlformats.org/officeDocument/2006/relationships/tags" Target="../tags/tag251.xml"/><Relationship Id="rId161" Type="http://schemas.openxmlformats.org/officeDocument/2006/relationships/tags" Target="../tags/tag267.xml"/><Relationship Id="rId166" Type="http://schemas.openxmlformats.org/officeDocument/2006/relationships/tags" Target="../tags/tag272.xml"/><Relationship Id="rId18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12.xml"/><Relationship Id="rId23" Type="http://schemas.openxmlformats.org/officeDocument/2006/relationships/tags" Target="../tags/tag129.xml"/><Relationship Id="rId28" Type="http://schemas.openxmlformats.org/officeDocument/2006/relationships/tags" Target="../tags/tag134.xml"/><Relationship Id="rId49" Type="http://schemas.openxmlformats.org/officeDocument/2006/relationships/tags" Target="../tags/tag155.xml"/><Relationship Id="rId114" Type="http://schemas.openxmlformats.org/officeDocument/2006/relationships/tags" Target="../tags/tag220.xml"/><Relationship Id="rId119" Type="http://schemas.openxmlformats.org/officeDocument/2006/relationships/tags" Target="../tags/tag225.xml"/><Relationship Id="rId44" Type="http://schemas.openxmlformats.org/officeDocument/2006/relationships/tags" Target="../tags/tag150.xml"/><Relationship Id="rId60" Type="http://schemas.openxmlformats.org/officeDocument/2006/relationships/tags" Target="../tags/tag166.xml"/><Relationship Id="rId65" Type="http://schemas.openxmlformats.org/officeDocument/2006/relationships/tags" Target="../tags/tag171.xml"/><Relationship Id="rId81" Type="http://schemas.openxmlformats.org/officeDocument/2006/relationships/tags" Target="../tags/tag187.xml"/><Relationship Id="rId86" Type="http://schemas.openxmlformats.org/officeDocument/2006/relationships/tags" Target="../tags/tag192.xml"/><Relationship Id="rId130" Type="http://schemas.openxmlformats.org/officeDocument/2006/relationships/tags" Target="../tags/tag236.xml"/><Relationship Id="rId135" Type="http://schemas.openxmlformats.org/officeDocument/2006/relationships/tags" Target="../tags/tag241.xml"/><Relationship Id="rId151" Type="http://schemas.openxmlformats.org/officeDocument/2006/relationships/tags" Target="../tags/tag257.xml"/><Relationship Id="rId156" Type="http://schemas.openxmlformats.org/officeDocument/2006/relationships/tags" Target="../tags/tag262.xml"/><Relationship Id="rId177" Type="http://schemas.openxmlformats.org/officeDocument/2006/relationships/tags" Target="../tags/tag283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72" Type="http://schemas.openxmlformats.org/officeDocument/2006/relationships/tags" Target="../tags/tag278.xml"/><Relationship Id="rId180" Type="http://schemas.openxmlformats.org/officeDocument/2006/relationships/tags" Target="../tags/tag286.xml"/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39" Type="http://schemas.openxmlformats.org/officeDocument/2006/relationships/tags" Target="../tags/tag145.xml"/><Relationship Id="rId109" Type="http://schemas.openxmlformats.org/officeDocument/2006/relationships/tags" Target="../tags/tag215.xml"/><Relationship Id="rId34" Type="http://schemas.openxmlformats.org/officeDocument/2006/relationships/tags" Target="../tags/tag140.xml"/><Relationship Id="rId50" Type="http://schemas.openxmlformats.org/officeDocument/2006/relationships/tags" Target="../tags/tag156.xml"/><Relationship Id="rId55" Type="http://schemas.openxmlformats.org/officeDocument/2006/relationships/tags" Target="../tags/tag161.xml"/><Relationship Id="rId76" Type="http://schemas.openxmlformats.org/officeDocument/2006/relationships/tags" Target="../tags/tag182.xml"/><Relationship Id="rId97" Type="http://schemas.openxmlformats.org/officeDocument/2006/relationships/tags" Target="../tags/tag203.xml"/><Relationship Id="rId104" Type="http://schemas.openxmlformats.org/officeDocument/2006/relationships/tags" Target="../tags/tag210.xml"/><Relationship Id="rId120" Type="http://schemas.openxmlformats.org/officeDocument/2006/relationships/tags" Target="../tags/tag226.xml"/><Relationship Id="rId125" Type="http://schemas.openxmlformats.org/officeDocument/2006/relationships/tags" Target="../tags/tag231.xml"/><Relationship Id="rId141" Type="http://schemas.openxmlformats.org/officeDocument/2006/relationships/tags" Target="../tags/tag247.xml"/><Relationship Id="rId146" Type="http://schemas.openxmlformats.org/officeDocument/2006/relationships/tags" Target="../tags/tag252.xml"/><Relationship Id="rId167" Type="http://schemas.openxmlformats.org/officeDocument/2006/relationships/tags" Target="../tags/tag273.xml"/><Relationship Id="rId7" Type="http://schemas.openxmlformats.org/officeDocument/2006/relationships/tags" Target="../tags/tag113.xml"/><Relationship Id="rId71" Type="http://schemas.openxmlformats.org/officeDocument/2006/relationships/tags" Target="../tags/tag177.xml"/><Relationship Id="rId92" Type="http://schemas.openxmlformats.org/officeDocument/2006/relationships/tags" Target="../tags/tag198.xml"/><Relationship Id="rId162" Type="http://schemas.openxmlformats.org/officeDocument/2006/relationships/tags" Target="../tags/tag268.xml"/><Relationship Id="rId183" Type="http://schemas.openxmlformats.org/officeDocument/2006/relationships/notesSlide" Target="../notesSlides/notesSlide3.xml"/><Relationship Id="rId2" Type="http://schemas.openxmlformats.org/officeDocument/2006/relationships/tags" Target="../tags/tag108.xml"/><Relationship Id="rId29" Type="http://schemas.openxmlformats.org/officeDocument/2006/relationships/tags" Target="../tags/tag135.xml"/><Relationship Id="rId24" Type="http://schemas.openxmlformats.org/officeDocument/2006/relationships/tags" Target="../tags/tag130.xml"/><Relationship Id="rId40" Type="http://schemas.openxmlformats.org/officeDocument/2006/relationships/tags" Target="../tags/tag146.xml"/><Relationship Id="rId45" Type="http://schemas.openxmlformats.org/officeDocument/2006/relationships/tags" Target="../tags/tag151.xml"/><Relationship Id="rId66" Type="http://schemas.openxmlformats.org/officeDocument/2006/relationships/tags" Target="../tags/tag172.xml"/><Relationship Id="rId87" Type="http://schemas.openxmlformats.org/officeDocument/2006/relationships/tags" Target="../tags/tag193.xml"/><Relationship Id="rId110" Type="http://schemas.openxmlformats.org/officeDocument/2006/relationships/tags" Target="../tags/tag216.xml"/><Relationship Id="rId115" Type="http://schemas.openxmlformats.org/officeDocument/2006/relationships/tags" Target="../tags/tag221.xml"/><Relationship Id="rId131" Type="http://schemas.openxmlformats.org/officeDocument/2006/relationships/tags" Target="../tags/tag237.xml"/><Relationship Id="rId136" Type="http://schemas.openxmlformats.org/officeDocument/2006/relationships/tags" Target="../tags/tag242.xml"/><Relationship Id="rId157" Type="http://schemas.openxmlformats.org/officeDocument/2006/relationships/tags" Target="../tags/tag263.xml"/><Relationship Id="rId178" Type="http://schemas.openxmlformats.org/officeDocument/2006/relationships/tags" Target="../tags/tag284.xml"/><Relationship Id="rId61" Type="http://schemas.openxmlformats.org/officeDocument/2006/relationships/tags" Target="../tags/tag167.xml"/><Relationship Id="rId82" Type="http://schemas.openxmlformats.org/officeDocument/2006/relationships/tags" Target="../tags/tag188.xml"/><Relationship Id="rId152" Type="http://schemas.openxmlformats.org/officeDocument/2006/relationships/tags" Target="../tags/tag258.xml"/><Relationship Id="rId173" Type="http://schemas.openxmlformats.org/officeDocument/2006/relationships/tags" Target="../tags/tag279.xml"/><Relationship Id="rId19" Type="http://schemas.openxmlformats.org/officeDocument/2006/relationships/tags" Target="../tags/tag125.xml"/><Relationship Id="rId14" Type="http://schemas.openxmlformats.org/officeDocument/2006/relationships/tags" Target="../tags/tag120.xml"/><Relationship Id="rId30" Type="http://schemas.openxmlformats.org/officeDocument/2006/relationships/tags" Target="../tags/tag136.xml"/><Relationship Id="rId35" Type="http://schemas.openxmlformats.org/officeDocument/2006/relationships/tags" Target="../tags/tag141.xml"/><Relationship Id="rId56" Type="http://schemas.openxmlformats.org/officeDocument/2006/relationships/tags" Target="../tags/tag162.xml"/><Relationship Id="rId77" Type="http://schemas.openxmlformats.org/officeDocument/2006/relationships/tags" Target="../tags/tag183.xml"/><Relationship Id="rId100" Type="http://schemas.openxmlformats.org/officeDocument/2006/relationships/tags" Target="../tags/tag206.xml"/><Relationship Id="rId105" Type="http://schemas.openxmlformats.org/officeDocument/2006/relationships/tags" Target="../tags/tag211.xml"/><Relationship Id="rId126" Type="http://schemas.openxmlformats.org/officeDocument/2006/relationships/tags" Target="../tags/tag232.xml"/><Relationship Id="rId147" Type="http://schemas.openxmlformats.org/officeDocument/2006/relationships/tags" Target="../tags/tag253.xml"/><Relationship Id="rId168" Type="http://schemas.openxmlformats.org/officeDocument/2006/relationships/tags" Target="../tags/tag274.xml"/><Relationship Id="rId8" Type="http://schemas.openxmlformats.org/officeDocument/2006/relationships/tags" Target="../tags/tag114.xml"/><Relationship Id="rId51" Type="http://schemas.openxmlformats.org/officeDocument/2006/relationships/tags" Target="../tags/tag157.xml"/><Relationship Id="rId72" Type="http://schemas.openxmlformats.org/officeDocument/2006/relationships/tags" Target="../tags/tag178.xml"/><Relationship Id="rId93" Type="http://schemas.openxmlformats.org/officeDocument/2006/relationships/tags" Target="../tags/tag199.xml"/><Relationship Id="rId98" Type="http://schemas.openxmlformats.org/officeDocument/2006/relationships/tags" Target="../tags/tag204.xml"/><Relationship Id="rId121" Type="http://schemas.openxmlformats.org/officeDocument/2006/relationships/tags" Target="../tags/tag227.xml"/><Relationship Id="rId142" Type="http://schemas.openxmlformats.org/officeDocument/2006/relationships/tags" Target="../tags/tag248.xml"/><Relationship Id="rId163" Type="http://schemas.openxmlformats.org/officeDocument/2006/relationships/tags" Target="../tags/tag269.xml"/><Relationship Id="rId184" Type="http://schemas.openxmlformats.org/officeDocument/2006/relationships/oleObject" Target="../embeddings/oleObject7.bin"/><Relationship Id="rId3" Type="http://schemas.openxmlformats.org/officeDocument/2006/relationships/tags" Target="../tags/tag109.xml"/><Relationship Id="rId25" Type="http://schemas.openxmlformats.org/officeDocument/2006/relationships/tags" Target="../tags/tag131.xml"/><Relationship Id="rId46" Type="http://schemas.openxmlformats.org/officeDocument/2006/relationships/tags" Target="../tags/tag152.xml"/><Relationship Id="rId67" Type="http://schemas.openxmlformats.org/officeDocument/2006/relationships/tags" Target="../tags/tag173.xml"/><Relationship Id="rId116" Type="http://schemas.openxmlformats.org/officeDocument/2006/relationships/tags" Target="../tags/tag222.xml"/><Relationship Id="rId137" Type="http://schemas.openxmlformats.org/officeDocument/2006/relationships/tags" Target="../tags/tag243.xml"/><Relationship Id="rId158" Type="http://schemas.openxmlformats.org/officeDocument/2006/relationships/tags" Target="../tags/tag264.xml"/><Relationship Id="rId20" Type="http://schemas.openxmlformats.org/officeDocument/2006/relationships/tags" Target="../tags/tag126.xml"/><Relationship Id="rId41" Type="http://schemas.openxmlformats.org/officeDocument/2006/relationships/tags" Target="../tags/tag147.xml"/><Relationship Id="rId62" Type="http://schemas.openxmlformats.org/officeDocument/2006/relationships/tags" Target="../tags/tag168.xml"/><Relationship Id="rId83" Type="http://schemas.openxmlformats.org/officeDocument/2006/relationships/tags" Target="../tags/tag189.xml"/><Relationship Id="rId88" Type="http://schemas.openxmlformats.org/officeDocument/2006/relationships/tags" Target="../tags/tag194.xml"/><Relationship Id="rId111" Type="http://schemas.openxmlformats.org/officeDocument/2006/relationships/tags" Target="../tags/tag217.xml"/><Relationship Id="rId132" Type="http://schemas.openxmlformats.org/officeDocument/2006/relationships/tags" Target="../tags/tag238.xml"/><Relationship Id="rId153" Type="http://schemas.openxmlformats.org/officeDocument/2006/relationships/tags" Target="../tags/tag259.xml"/><Relationship Id="rId174" Type="http://schemas.openxmlformats.org/officeDocument/2006/relationships/tags" Target="../tags/tag280.xml"/><Relationship Id="rId179" Type="http://schemas.openxmlformats.org/officeDocument/2006/relationships/tags" Target="../tags/tag285.xml"/><Relationship Id="rId15" Type="http://schemas.openxmlformats.org/officeDocument/2006/relationships/tags" Target="../tags/tag121.xml"/><Relationship Id="rId36" Type="http://schemas.openxmlformats.org/officeDocument/2006/relationships/tags" Target="../tags/tag142.xml"/><Relationship Id="rId57" Type="http://schemas.openxmlformats.org/officeDocument/2006/relationships/tags" Target="../tags/tag163.xml"/><Relationship Id="rId106" Type="http://schemas.openxmlformats.org/officeDocument/2006/relationships/tags" Target="../tags/tag212.xml"/><Relationship Id="rId127" Type="http://schemas.openxmlformats.org/officeDocument/2006/relationships/tags" Target="../tags/tag233.xml"/><Relationship Id="rId10" Type="http://schemas.openxmlformats.org/officeDocument/2006/relationships/tags" Target="../tags/tag116.xml"/><Relationship Id="rId31" Type="http://schemas.openxmlformats.org/officeDocument/2006/relationships/tags" Target="../tags/tag137.xml"/><Relationship Id="rId52" Type="http://schemas.openxmlformats.org/officeDocument/2006/relationships/tags" Target="../tags/tag158.xml"/><Relationship Id="rId73" Type="http://schemas.openxmlformats.org/officeDocument/2006/relationships/tags" Target="../tags/tag179.xml"/><Relationship Id="rId78" Type="http://schemas.openxmlformats.org/officeDocument/2006/relationships/tags" Target="../tags/tag184.xml"/><Relationship Id="rId94" Type="http://schemas.openxmlformats.org/officeDocument/2006/relationships/tags" Target="../tags/tag200.xml"/><Relationship Id="rId99" Type="http://schemas.openxmlformats.org/officeDocument/2006/relationships/tags" Target="../tags/tag205.xml"/><Relationship Id="rId101" Type="http://schemas.openxmlformats.org/officeDocument/2006/relationships/tags" Target="../tags/tag207.xml"/><Relationship Id="rId122" Type="http://schemas.openxmlformats.org/officeDocument/2006/relationships/tags" Target="../tags/tag228.xml"/><Relationship Id="rId143" Type="http://schemas.openxmlformats.org/officeDocument/2006/relationships/tags" Target="../tags/tag249.xml"/><Relationship Id="rId148" Type="http://schemas.openxmlformats.org/officeDocument/2006/relationships/tags" Target="../tags/tag254.xml"/><Relationship Id="rId164" Type="http://schemas.openxmlformats.org/officeDocument/2006/relationships/tags" Target="../tags/tag270.xml"/><Relationship Id="rId169" Type="http://schemas.openxmlformats.org/officeDocument/2006/relationships/tags" Target="../tags/tag275.xml"/><Relationship Id="rId185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312.xml"/><Relationship Id="rId117" Type="http://schemas.openxmlformats.org/officeDocument/2006/relationships/tags" Target="../tags/tag403.xml"/><Relationship Id="rId21" Type="http://schemas.openxmlformats.org/officeDocument/2006/relationships/tags" Target="../tags/tag307.xml"/><Relationship Id="rId42" Type="http://schemas.openxmlformats.org/officeDocument/2006/relationships/tags" Target="../tags/tag328.xml"/><Relationship Id="rId47" Type="http://schemas.openxmlformats.org/officeDocument/2006/relationships/tags" Target="../tags/tag333.xml"/><Relationship Id="rId63" Type="http://schemas.openxmlformats.org/officeDocument/2006/relationships/tags" Target="../tags/tag349.xml"/><Relationship Id="rId68" Type="http://schemas.openxmlformats.org/officeDocument/2006/relationships/tags" Target="../tags/tag354.xml"/><Relationship Id="rId84" Type="http://schemas.openxmlformats.org/officeDocument/2006/relationships/tags" Target="../tags/tag370.xml"/><Relationship Id="rId89" Type="http://schemas.openxmlformats.org/officeDocument/2006/relationships/tags" Target="../tags/tag375.xml"/><Relationship Id="rId112" Type="http://schemas.openxmlformats.org/officeDocument/2006/relationships/tags" Target="../tags/tag398.xml"/><Relationship Id="rId133" Type="http://schemas.openxmlformats.org/officeDocument/2006/relationships/tags" Target="../tags/tag419.xml"/><Relationship Id="rId138" Type="http://schemas.openxmlformats.org/officeDocument/2006/relationships/tags" Target="../tags/tag424.xml"/><Relationship Id="rId16" Type="http://schemas.openxmlformats.org/officeDocument/2006/relationships/tags" Target="../tags/tag302.xml"/><Relationship Id="rId107" Type="http://schemas.openxmlformats.org/officeDocument/2006/relationships/tags" Target="../tags/tag393.xml"/><Relationship Id="rId11" Type="http://schemas.openxmlformats.org/officeDocument/2006/relationships/tags" Target="../tags/tag297.xml"/><Relationship Id="rId32" Type="http://schemas.openxmlformats.org/officeDocument/2006/relationships/tags" Target="../tags/tag318.xml"/><Relationship Id="rId37" Type="http://schemas.openxmlformats.org/officeDocument/2006/relationships/tags" Target="../tags/tag323.xml"/><Relationship Id="rId53" Type="http://schemas.openxmlformats.org/officeDocument/2006/relationships/tags" Target="../tags/tag339.xml"/><Relationship Id="rId58" Type="http://schemas.openxmlformats.org/officeDocument/2006/relationships/tags" Target="../tags/tag344.xml"/><Relationship Id="rId74" Type="http://schemas.openxmlformats.org/officeDocument/2006/relationships/tags" Target="../tags/tag360.xml"/><Relationship Id="rId79" Type="http://schemas.openxmlformats.org/officeDocument/2006/relationships/tags" Target="../tags/tag365.xml"/><Relationship Id="rId102" Type="http://schemas.openxmlformats.org/officeDocument/2006/relationships/tags" Target="../tags/tag388.xml"/><Relationship Id="rId123" Type="http://schemas.openxmlformats.org/officeDocument/2006/relationships/tags" Target="../tags/tag409.xml"/><Relationship Id="rId128" Type="http://schemas.openxmlformats.org/officeDocument/2006/relationships/tags" Target="../tags/tag414.xml"/><Relationship Id="rId144" Type="http://schemas.openxmlformats.org/officeDocument/2006/relationships/oleObject" Target="../embeddings/oleObject8.bin"/><Relationship Id="rId5" Type="http://schemas.openxmlformats.org/officeDocument/2006/relationships/tags" Target="../tags/tag291.xml"/><Relationship Id="rId90" Type="http://schemas.openxmlformats.org/officeDocument/2006/relationships/tags" Target="../tags/tag376.xml"/><Relationship Id="rId95" Type="http://schemas.openxmlformats.org/officeDocument/2006/relationships/tags" Target="../tags/tag381.xml"/><Relationship Id="rId22" Type="http://schemas.openxmlformats.org/officeDocument/2006/relationships/tags" Target="../tags/tag308.xml"/><Relationship Id="rId27" Type="http://schemas.openxmlformats.org/officeDocument/2006/relationships/tags" Target="../tags/tag313.xml"/><Relationship Id="rId43" Type="http://schemas.openxmlformats.org/officeDocument/2006/relationships/tags" Target="../tags/tag329.xml"/><Relationship Id="rId48" Type="http://schemas.openxmlformats.org/officeDocument/2006/relationships/tags" Target="../tags/tag334.xml"/><Relationship Id="rId64" Type="http://schemas.openxmlformats.org/officeDocument/2006/relationships/tags" Target="../tags/tag350.xml"/><Relationship Id="rId69" Type="http://schemas.openxmlformats.org/officeDocument/2006/relationships/tags" Target="../tags/tag355.xml"/><Relationship Id="rId113" Type="http://schemas.openxmlformats.org/officeDocument/2006/relationships/tags" Target="../tags/tag399.xml"/><Relationship Id="rId118" Type="http://schemas.openxmlformats.org/officeDocument/2006/relationships/tags" Target="../tags/tag404.xml"/><Relationship Id="rId134" Type="http://schemas.openxmlformats.org/officeDocument/2006/relationships/tags" Target="../tags/tag420.xml"/><Relationship Id="rId139" Type="http://schemas.openxmlformats.org/officeDocument/2006/relationships/tags" Target="../tags/tag425.xml"/><Relationship Id="rId80" Type="http://schemas.openxmlformats.org/officeDocument/2006/relationships/tags" Target="../tags/tag366.xml"/><Relationship Id="rId85" Type="http://schemas.openxmlformats.org/officeDocument/2006/relationships/tags" Target="../tags/tag371.xml"/><Relationship Id="rId3" Type="http://schemas.openxmlformats.org/officeDocument/2006/relationships/tags" Target="../tags/tag289.xml"/><Relationship Id="rId12" Type="http://schemas.openxmlformats.org/officeDocument/2006/relationships/tags" Target="../tags/tag298.xml"/><Relationship Id="rId17" Type="http://schemas.openxmlformats.org/officeDocument/2006/relationships/tags" Target="../tags/tag303.xml"/><Relationship Id="rId25" Type="http://schemas.openxmlformats.org/officeDocument/2006/relationships/tags" Target="../tags/tag311.xml"/><Relationship Id="rId33" Type="http://schemas.openxmlformats.org/officeDocument/2006/relationships/tags" Target="../tags/tag319.xml"/><Relationship Id="rId38" Type="http://schemas.openxmlformats.org/officeDocument/2006/relationships/tags" Target="../tags/tag324.xml"/><Relationship Id="rId46" Type="http://schemas.openxmlformats.org/officeDocument/2006/relationships/tags" Target="../tags/tag332.xml"/><Relationship Id="rId59" Type="http://schemas.openxmlformats.org/officeDocument/2006/relationships/tags" Target="../tags/tag345.xml"/><Relationship Id="rId67" Type="http://schemas.openxmlformats.org/officeDocument/2006/relationships/tags" Target="../tags/tag353.xml"/><Relationship Id="rId103" Type="http://schemas.openxmlformats.org/officeDocument/2006/relationships/tags" Target="../tags/tag389.xml"/><Relationship Id="rId108" Type="http://schemas.openxmlformats.org/officeDocument/2006/relationships/tags" Target="../tags/tag394.xml"/><Relationship Id="rId116" Type="http://schemas.openxmlformats.org/officeDocument/2006/relationships/tags" Target="../tags/tag402.xml"/><Relationship Id="rId124" Type="http://schemas.openxmlformats.org/officeDocument/2006/relationships/tags" Target="../tags/tag410.xml"/><Relationship Id="rId129" Type="http://schemas.openxmlformats.org/officeDocument/2006/relationships/tags" Target="../tags/tag415.xml"/><Relationship Id="rId137" Type="http://schemas.openxmlformats.org/officeDocument/2006/relationships/tags" Target="../tags/tag423.xml"/><Relationship Id="rId20" Type="http://schemas.openxmlformats.org/officeDocument/2006/relationships/tags" Target="../tags/tag306.xml"/><Relationship Id="rId41" Type="http://schemas.openxmlformats.org/officeDocument/2006/relationships/tags" Target="../tags/tag327.xml"/><Relationship Id="rId54" Type="http://schemas.openxmlformats.org/officeDocument/2006/relationships/tags" Target="../tags/tag340.xml"/><Relationship Id="rId62" Type="http://schemas.openxmlformats.org/officeDocument/2006/relationships/tags" Target="../tags/tag348.xml"/><Relationship Id="rId70" Type="http://schemas.openxmlformats.org/officeDocument/2006/relationships/tags" Target="../tags/tag356.xml"/><Relationship Id="rId75" Type="http://schemas.openxmlformats.org/officeDocument/2006/relationships/tags" Target="../tags/tag361.xml"/><Relationship Id="rId83" Type="http://schemas.openxmlformats.org/officeDocument/2006/relationships/tags" Target="../tags/tag369.xml"/><Relationship Id="rId88" Type="http://schemas.openxmlformats.org/officeDocument/2006/relationships/tags" Target="../tags/tag374.xml"/><Relationship Id="rId91" Type="http://schemas.openxmlformats.org/officeDocument/2006/relationships/tags" Target="../tags/tag377.xml"/><Relationship Id="rId96" Type="http://schemas.openxmlformats.org/officeDocument/2006/relationships/tags" Target="../tags/tag382.xml"/><Relationship Id="rId111" Type="http://schemas.openxmlformats.org/officeDocument/2006/relationships/tags" Target="../tags/tag397.xml"/><Relationship Id="rId132" Type="http://schemas.openxmlformats.org/officeDocument/2006/relationships/tags" Target="../tags/tag418.xml"/><Relationship Id="rId140" Type="http://schemas.openxmlformats.org/officeDocument/2006/relationships/tags" Target="../tags/tag426.xml"/><Relationship Id="rId145" Type="http://schemas.openxmlformats.org/officeDocument/2006/relationships/image" Target="../media/image4.emf"/><Relationship Id="rId1" Type="http://schemas.openxmlformats.org/officeDocument/2006/relationships/vmlDrawing" Target="../drawings/vmlDrawing8.vml"/><Relationship Id="rId6" Type="http://schemas.openxmlformats.org/officeDocument/2006/relationships/tags" Target="../tags/tag292.xml"/><Relationship Id="rId15" Type="http://schemas.openxmlformats.org/officeDocument/2006/relationships/tags" Target="../tags/tag301.xml"/><Relationship Id="rId23" Type="http://schemas.openxmlformats.org/officeDocument/2006/relationships/tags" Target="../tags/tag309.xml"/><Relationship Id="rId28" Type="http://schemas.openxmlformats.org/officeDocument/2006/relationships/tags" Target="../tags/tag314.xml"/><Relationship Id="rId36" Type="http://schemas.openxmlformats.org/officeDocument/2006/relationships/tags" Target="../tags/tag322.xml"/><Relationship Id="rId49" Type="http://schemas.openxmlformats.org/officeDocument/2006/relationships/tags" Target="../tags/tag335.xml"/><Relationship Id="rId57" Type="http://schemas.openxmlformats.org/officeDocument/2006/relationships/tags" Target="../tags/tag343.xml"/><Relationship Id="rId106" Type="http://schemas.openxmlformats.org/officeDocument/2006/relationships/tags" Target="../tags/tag392.xml"/><Relationship Id="rId114" Type="http://schemas.openxmlformats.org/officeDocument/2006/relationships/tags" Target="../tags/tag400.xml"/><Relationship Id="rId119" Type="http://schemas.openxmlformats.org/officeDocument/2006/relationships/tags" Target="../tags/tag405.xml"/><Relationship Id="rId127" Type="http://schemas.openxmlformats.org/officeDocument/2006/relationships/tags" Target="../tags/tag413.xml"/><Relationship Id="rId10" Type="http://schemas.openxmlformats.org/officeDocument/2006/relationships/tags" Target="../tags/tag296.xml"/><Relationship Id="rId31" Type="http://schemas.openxmlformats.org/officeDocument/2006/relationships/tags" Target="../tags/tag317.xml"/><Relationship Id="rId44" Type="http://schemas.openxmlformats.org/officeDocument/2006/relationships/tags" Target="../tags/tag330.xml"/><Relationship Id="rId52" Type="http://schemas.openxmlformats.org/officeDocument/2006/relationships/tags" Target="../tags/tag338.xml"/><Relationship Id="rId60" Type="http://schemas.openxmlformats.org/officeDocument/2006/relationships/tags" Target="../tags/tag346.xml"/><Relationship Id="rId65" Type="http://schemas.openxmlformats.org/officeDocument/2006/relationships/tags" Target="../tags/tag351.xml"/><Relationship Id="rId73" Type="http://schemas.openxmlformats.org/officeDocument/2006/relationships/tags" Target="../tags/tag359.xml"/><Relationship Id="rId78" Type="http://schemas.openxmlformats.org/officeDocument/2006/relationships/tags" Target="../tags/tag364.xml"/><Relationship Id="rId81" Type="http://schemas.openxmlformats.org/officeDocument/2006/relationships/tags" Target="../tags/tag367.xml"/><Relationship Id="rId86" Type="http://schemas.openxmlformats.org/officeDocument/2006/relationships/tags" Target="../tags/tag372.xml"/><Relationship Id="rId94" Type="http://schemas.openxmlformats.org/officeDocument/2006/relationships/tags" Target="../tags/tag380.xml"/><Relationship Id="rId99" Type="http://schemas.openxmlformats.org/officeDocument/2006/relationships/tags" Target="../tags/tag385.xml"/><Relationship Id="rId101" Type="http://schemas.openxmlformats.org/officeDocument/2006/relationships/tags" Target="../tags/tag387.xml"/><Relationship Id="rId122" Type="http://schemas.openxmlformats.org/officeDocument/2006/relationships/tags" Target="../tags/tag408.xml"/><Relationship Id="rId130" Type="http://schemas.openxmlformats.org/officeDocument/2006/relationships/tags" Target="../tags/tag416.xml"/><Relationship Id="rId135" Type="http://schemas.openxmlformats.org/officeDocument/2006/relationships/tags" Target="../tags/tag421.xml"/><Relationship Id="rId143" Type="http://schemas.openxmlformats.org/officeDocument/2006/relationships/notesSlide" Target="../notesSlides/notesSlide4.xml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3" Type="http://schemas.openxmlformats.org/officeDocument/2006/relationships/tags" Target="../tags/tag299.xml"/><Relationship Id="rId18" Type="http://schemas.openxmlformats.org/officeDocument/2006/relationships/tags" Target="../tags/tag304.xml"/><Relationship Id="rId39" Type="http://schemas.openxmlformats.org/officeDocument/2006/relationships/tags" Target="../tags/tag325.xml"/><Relationship Id="rId109" Type="http://schemas.openxmlformats.org/officeDocument/2006/relationships/tags" Target="../tags/tag395.xml"/><Relationship Id="rId34" Type="http://schemas.openxmlformats.org/officeDocument/2006/relationships/tags" Target="../tags/tag320.xml"/><Relationship Id="rId50" Type="http://schemas.openxmlformats.org/officeDocument/2006/relationships/tags" Target="../tags/tag336.xml"/><Relationship Id="rId55" Type="http://schemas.openxmlformats.org/officeDocument/2006/relationships/tags" Target="../tags/tag341.xml"/><Relationship Id="rId76" Type="http://schemas.openxmlformats.org/officeDocument/2006/relationships/tags" Target="../tags/tag362.xml"/><Relationship Id="rId97" Type="http://schemas.openxmlformats.org/officeDocument/2006/relationships/tags" Target="../tags/tag383.xml"/><Relationship Id="rId104" Type="http://schemas.openxmlformats.org/officeDocument/2006/relationships/tags" Target="../tags/tag390.xml"/><Relationship Id="rId120" Type="http://schemas.openxmlformats.org/officeDocument/2006/relationships/tags" Target="../tags/tag406.xml"/><Relationship Id="rId125" Type="http://schemas.openxmlformats.org/officeDocument/2006/relationships/tags" Target="../tags/tag411.xml"/><Relationship Id="rId141" Type="http://schemas.openxmlformats.org/officeDocument/2006/relationships/tags" Target="../tags/tag427.xml"/><Relationship Id="rId146" Type="http://schemas.openxmlformats.org/officeDocument/2006/relationships/chart" Target="../charts/chart4.xml"/><Relationship Id="rId7" Type="http://schemas.openxmlformats.org/officeDocument/2006/relationships/tags" Target="../tags/tag293.xml"/><Relationship Id="rId71" Type="http://schemas.openxmlformats.org/officeDocument/2006/relationships/tags" Target="../tags/tag357.xml"/><Relationship Id="rId92" Type="http://schemas.openxmlformats.org/officeDocument/2006/relationships/tags" Target="../tags/tag378.xml"/><Relationship Id="rId2" Type="http://schemas.openxmlformats.org/officeDocument/2006/relationships/tags" Target="../tags/tag288.xml"/><Relationship Id="rId29" Type="http://schemas.openxmlformats.org/officeDocument/2006/relationships/tags" Target="../tags/tag315.xml"/><Relationship Id="rId24" Type="http://schemas.openxmlformats.org/officeDocument/2006/relationships/tags" Target="../tags/tag310.xml"/><Relationship Id="rId40" Type="http://schemas.openxmlformats.org/officeDocument/2006/relationships/tags" Target="../tags/tag326.xml"/><Relationship Id="rId45" Type="http://schemas.openxmlformats.org/officeDocument/2006/relationships/tags" Target="../tags/tag331.xml"/><Relationship Id="rId66" Type="http://schemas.openxmlformats.org/officeDocument/2006/relationships/tags" Target="../tags/tag352.xml"/><Relationship Id="rId87" Type="http://schemas.openxmlformats.org/officeDocument/2006/relationships/tags" Target="../tags/tag373.xml"/><Relationship Id="rId110" Type="http://schemas.openxmlformats.org/officeDocument/2006/relationships/tags" Target="../tags/tag396.xml"/><Relationship Id="rId115" Type="http://schemas.openxmlformats.org/officeDocument/2006/relationships/tags" Target="../tags/tag401.xml"/><Relationship Id="rId131" Type="http://schemas.openxmlformats.org/officeDocument/2006/relationships/tags" Target="../tags/tag417.xml"/><Relationship Id="rId136" Type="http://schemas.openxmlformats.org/officeDocument/2006/relationships/tags" Target="../tags/tag422.xml"/><Relationship Id="rId61" Type="http://schemas.openxmlformats.org/officeDocument/2006/relationships/tags" Target="../tags/tag347.xml"/><Relationship Id="rId82" Type="http://schemas.openxmlformats.org/officeDocument/2006/relationships/tags" Target="../tags/tag368.xml"/><Relationship Id="rId19" Type="http://schemas.openxmlformats.org/officeDocument/2006/relationships/tags" Target="../tags/tag305.xml"/><Relationship Id="rId14" Type="http://schemas.openxmlformats.org/officeDocument/2006/relationships/tags" Target="../tags/tag300.xml"/><Relationship Id="rId30" Type="http://schemas.openxmlformats.org/officeDocument/2006/relationships/tags" Target="../tags/tag316.xml"/><Relationship Id="rId35" Type="http://schemas.openxmlformats.org/officeDocument/2006/relationships/tags" Target="../tags/tag321.xml"/><Relationship Id="rId56" Type="http://schemas.openxmlformats.org/officeDocument/2006/relationships/tags" Target="../tags/tag342.xml"/><Relationship Id="rId77" Type="http://schemas.openxmlformats.org/officeDocument/2006/relationships/tags" Target="../tags/tag363.xml"/><Relationship Id="rId100" Type="http://schemas.openxmlformats.org/officeDocument/2006/relationships/tags" Target="../tags/tag386.xml"/><Relationship Id="rId105" Type="http://schemas.openxmlformats.org/officeDocument/2006/relationships/tags" Target="../tags/tag391.xml"/><Relationship Id="rId126" Type="http://schemas.openxmlformats.org/officeDocument/2006/relationships/tags" Target="../tags/tag412.xml"/><Relationship Id="rId8" Type="http://schemas.openxmlformats.org/officeDocument/2006/relationships/tags" Target="../tags/tag294.xml"/><Relationship Id="rId51" Type="http://schemas.openxmlformats.org/officeDocument/2006/relationships/tags" Target="../tags/tag337.xml"/><Relationship Id="rId72" Type="http://schemas.openxmlformats.org/officeDocument/2006/relationships/tags" Target="../tags/tag358.xml"/><Relationship Id="rId93" Type="http://schemas.openxmlformats.org/officeDocument/2006/relationships/tags" Target="../tags/tag379.xml"/><Relationship Id="rId98" Type="http://schemas.openxmlformats.org/officeDocument/2006/relationships/tags" Target="../tags/tag384.xml"/><Relationship Id="rId121" Type="http://schemas.openxmlformats.org/officeDocument/2006/relationships/tags" Target="../tags/tag407.xml"/><Relationship Id="rId142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39.xml"/><Relationship Id="rId18" Type="http://schemas.openxmlformats.org/officeDocument/2006/relationships/tags" Target="../tags/tag444.xml"/><Relationship Id="rId26" Type="http://schemas.openxmlformats.org/officeDocument/2006/relationships/tags" Target="../tags/tag452.xml"/><Relationship Id="rId39" Type="http://schemas.openxmlformats.org/officeDocument/2006/relationships/tags" Target="../tags/tag465.xml"/><Relationship Id="rId21" Type="http://schemas.openxmlformats.org/officeDocument/2006/relationships/tags" Target="../tags/tag447.xml"/><Relationship Id="rId34" Type="http://schemas.openxmlformats.org/officeDocument/2006/relationships/tags" Target="../tags/tag460.xml"/><Relationship Id="rId42" Type="http://schemas.openxmlformats.org/officeDocument/2006/relationships/tags" Target="../tags/tag468.xml"/><Relationship Id="rId47" Type="http://schemas.openxmlformats.org/officeDocument/2006/relationships/tags" Target="../tags/tag473.xml"/><Relationship Id="rId50" Type="http://schemas.openxmlformats.org/officeDocument/2006/relationships/tags" Target="../tags/tag476.xml"/><Relationship Id="rId55" Type="http://schemas.openxmlformats.org/officeDocument/2006/relationships/tags" Target="../tags/tag481.xml"/><Relationship Id="rId63" Type="http://schemas.openxmlformats.org/officeDocument/2006/relationships/chart" Target="../charts/chart5.xml"/><Relationship Id="rId7" Type="http://schemas.openxmlformats.org/officeDocument/2006/relationships/tags" Target="../tags/tag433.xml"/><Relationship Id="rId2" Type="http://schemas.openxmlformats.org/officeDocument/2006/relationships/tags" Target="../tags/tag428.xml"/><Relationship Id="rId16" Type="http://schemas.openxmlformats.org/officeDocument/2006/relationships/tags" Target="../tags/tag442.xml"/><Relationship Id="rId20" Type="http://schemas.openxmlformats.org/officeDocument/2006/relationships/tags" Target="../tags/tag446.xml"/><Relationship Id="rId29" Type="http://schemas.openxmlformats.org/officeDocument/2006/relationships/tags" Target="../tags/tag455.xml"/><Relationship Id="rId41" Type="http://schemas.openxmlformats.org/officeDocument/2006/relationships/tags" Target="../tags/tag467.xml"/><Relationship Id="rId54" Type="http://schemas.openxmlformats.org/officeDocument/2006/relationships/tags" Target="../tags/tag480.xml"/><Relationship Id="rId62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6" Type="http://schemas.openxmlformats.org/officeDocument/2006/relationships/tags" Target="../tags/tag432.xml"/><Relationship Id="rId11" Type="http://schemas.openxmlformats.org/officeDocument/2006/relationships/tags" Target="../tags/tag437.xml"/><Relationship Id="rId24" Type="http://schemas.openxmlformats.org/officeDocument/2006/relationships/tags" Target="../tags/tag450.xml"/><Relationship Id="rId32" Type="http://schemas.openxmlformats.org/officeDocument/2006/relationships/tags" Target="../tags/tag458.xml"/><Relationship Id="rId37" Type="http://schemas.openxmlformats.org/officeDocument/2006/relationships/tags" Target="../tags/tag463.xml"/><Relationship Id="rId40" Type="http://schemas.openxmlformats.org/officeDocument/2006/relationships/tags" Target="../tags/tag466.xml"/><Relationship Id="rId45" Type="http://schemas.openxmlformats.org/officeDocument/2006/relationships/tags" Target="../tags/tag471.xml"/><Relationship Id="rId53" Type="http://schemas.openxmlformats.org/officeDocument/2006/relationships/tags" Target="../tags/tag479.xml"/><Relationship Id="rId58" Type="http://schemas.openxmlformats.org/officeDocument/2006/relationships/tags" Target="../tags/tag484.xml"/><Relationship Id="rId5" Type="http://schemas.openxmlformats.org/officeDocument/2006/relationships/tags" Target="../tags/tag431.xml"/><Relationship Id="rId15" Type="http://schemas.openxmlformats.org/officeDocument/2006/relationships/tags" Target="../tags/tag441.xml"/><Relationship Id="rId23" Type="http://schemas.openxmlformats.org/officeDocument/2006/relationships/tags" Target="../tags/tag449.xml"/><Relationship Id="rId28" Type="http://schemas.openxmlformats.org/officeDocument/2006/relationships/tags" Target="../tags/tag454.xml"/><Relationship Id="rId36" Type="http://schemas.openxmlformats.org/officeDocument/2006/relationships/tags" Target="../tags/tag462.xml"/><Relationship Id="rId49" Type="http://schemas.openxmlformats.org/officeDocument/2006/relationships/tags" Target="../tags/tag475.xml"/><Relationship Id="rId57" Type="http://schemas.openxmlformats.org/officeDocument/2006/relationships/tags" Target="../tags/tag483.xml"/><Relationship Id="rId61" Type="http://schemas.openxmlformats.org/officeDocument/2006/relationships/oleObject" Target="../embeddings/oleObject9.bin"/><Relationship Id="rId10" Type="http://schemas.openxmlformats.org/officeDocument/2006/relationships/tags" Target="../tags/tag436.xml"/><Relationship Id="rId19" Type="http://schemas.openxmlformats.org/officeDocument/2006/relationships/tags" Target="../tags/tag445.xml"/><Relationship Id="rId31" Type="http://schemas.openxmlformats.org/officeDocument/2006/relationships/tags" Target="../tags/tag457.xml"/><Relationship Id="rId44" Type="http://schemas.openxmlformats.org/officeDocument/2006/relationships/tags" Target="../tags/tag470.xml"/><Relationship Id="rId52" Type="http://schemas.openxmlformats.org/officeDocument/2006/relationships/tags" Target="../tags/tag478.xml"/><Relationship Id="rId60" Type="http://schemas.openxmlformats.org/officeDocument/2006/relationships/slideLayout" Target="../slideLayouts/slideLayout2.xml"/><Relationship Id="rId4" Type="http://schemas.openxmlformats.org/officeDocument/2006/relationships/tags" Target="../tags/tag430.xml"/><Relationship Id="rId9" Type="http://schemas.openxmlformats.org/officeDocument/2006/relationships/tags" Target="../tags/tag435.xml"/><Relationship Id="rId14" Type="http://schemas.openxmlformats.org/officeDocument/2006/relationships/tags" Target="../tags/tag440.xml"/><Relationship Id="rId22" Type="http://schemas.openxmlformats.org/officeDocument/2006/relationships/tags" Target="../tags/tag448.xml"/><Relationship Id="rId27" Type="http://schemas.openxmlformats.org/officeDocument/2006/relationships/tags" Target="../tags/tag453.xml"/><Relationship Id="rId30" Type="http://schemas.openxmlformats.org/officeDocument/2006/relationships/tags" Target="../tags/tag456.xml"/><Relationship Id="rId35" Type="http://schemas.openxmlformats.org/officeDocument/2006/relationships/tags" Target="../tags/tag461.xml"/><Relationship Id="rId43" Type="http://schemas.openxmlformats.org/officeDocument/2006/relationships/tags" Target="../tags/tag469.xml"/><Relationship Id="rId48" Type="http://schemas.openxmlformats.org/officeDocument/2006/relationships/tags" Target="../tags/tag474.xml"/><Relationship Id="rId56" Type="http://schemas.openxmlformats.org/officeDocument/2006/relationships/tags" Target="../tags/tag482.xml"/><Relationship Id="rId8" Type="http://schemas.openxmlformats.org/officeDocument/2006/relationships/tags" Target="../tags/tag434.xml"/><Relationship Id="rId51" Type="http://schemas.openxmlformats.org/officeDocument/2006/relationships/tags" Target="../tags/tag477.xml"/><Relationship Id="rId3" Type="http://schemas.openxmlformats.org/officeDocument/2006/relationships/tags" Target="../tags/tag429.xml"/><Relationship Id="rId12" Type="http://schemas.openxmlformats.org/officeDocument/2006/relationships/tags" Target="../tags/tag438.xml"/><Relationship Id="rId17" Type="http://schemas.openxmlformats.org/officeDocument/2006/relationships/tags" Target="../tags/tag443.xml"/><Relationship Id="rId25" Type="http://schemas.openxmlformats.org/officeDocument/2006/relationships/tags" Target="../tags/tag451.xml"/><Relationship Id="rId33" Type="http://schemas.openxmlformats.org/officeDocument/2006/relationships/tags" Target="../tags/tag459.xml"/><Relationship Id="rId38" Type="http://schemas.openxmlformats.org/officeDocument/2006/relationships/tags" Target="../tags/tag464.xml"/><Relationship Id="rId46" Type="http://schemas.openxmlformats.org/officeDocument/2006/relationships/tags" Target="../tags/tag472.xml"/><Relationship Id="rId59" Type="http://schemas.openxmlformats.org/officeDocument/2006/relationships/tags" Target="../tags/tag485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97.xml"/><Relationship Id="rId18" Type="http://schemas.openxmlformats.org/officeDocument/2006/relationships/tags" Target="../tags/tag502.xml"/><Relationship Id="rId26" Type="http://schemas.openxmlformats.org/officeDocument/2006/relationships/tags" Target="../tags/tag510.xml"/><Relationship Id="rId39" Type="http://schemas.openxmlformats.org/officeDocument/2006/relationships/tags" Target="../tags/tag523.xml"/><Relationship Id="rId21" Type="http://schemas.openxmlformats.org/officeDocument/2006/relationships/tags" Target="../tags/tag505.xml"/><Relationship Id="rId34" Type="http://schemas.openxmlformats.org/officeDocument/2006/relationships/tags" Target="../tags/tag518.xml"/><Relationship Id="rId42" Type="http://schemas.openxmlformats.org/officeDocument/2006/relationships/tags" Target="../tags/tag526.xml"/><Relationship Id="rId47" Type="http://schemas.openxmlformats.org/officeDocument/2006/relationships/tags" Target="../tags/tag531.xml"/><Relationship Id="rId50" Type="http://schemas.openxmlformats.org/officeDocument/2006/relationships/tags" Target="../tags/tag534.xml"/><Relationship Id="rId55" Type="http://schemas.openxmlformats.org/officeDocument/2006/relationships/oleObject" Target="../embeddings/oleObject10.bin"/><Relationship Id="rId7" Type="http://schemas.openxmlformats.org/officeDocument/2006/relationships/tags" Target="../tags/tag491.xml"/><Relationship Id="rId12" Type="http://schemas.openxmlformats.org/officeDocument/2006/relationships/tags" Target="../tags/tag496.xml"/><Relationship Id="rId17" Type="http://schemas.openxmlformats.org/officeDocument/2006/relationships/tags" Target="../tags/tag501.xml"/><Relationship Id="rId25" Type="http://schemas.openxmlformats.org/officeDocument/2006/relationships/tags" Target="../tags/tag509.xml"/><Relationship Id="rId33" Type="http://schemas.openxmlformats.org/officeDocument/2006/relationships/tags" Target="../tags/tag517.xml"/><Relationship Id="rId38" Type="http://schemas.openxmlformats.org/officeDocument/2006/relationships/tags" Target="../tags/tag522.xml"/><Relationship Id="rId46" Type="http://schemas.openxmlformats.org/officeDocument/2006/relationships/tags" Target="../tags/tag530.xml"/><Relationship Id="rId59" Type="http://schemas.openxmlformats.org/officeDocument/2006/relationships/image" Target="../media/image9.png"/><Relationship Id="rId2" Type="http://schemas.openxmlformats.org/officeDocument/2006/relationships/tags" Target="../tags/tag486.xml"/><Relationship Id="rId16" Type="http://schemas.openxmlformats.org/officeDocument/2006/relationships/tags" Target="../tags/tag500.xml"/><Relationship Id="rId20" Type="http://schemas.openxmlformats.org/officeDocument/2006/relationships/tags" Target="../tags/tag504.xml"/><Relationship Id="rId29" Type="http://schemas.openxmlformats.org/officeDocument/2006/relationships/tags" Target="../tags/tag513.xml"/><Relationship Id="rId41" Type="http://schemas.openxmlformats.org/officeDocument/2006/relationships/tags" Target="../tags/tag525.xml"/><Relationship Id="rId54" Type="http://schemas.openxmlformats.org/officeDocument/2006/relationships/notesSlide" Target="../notesSlides/notesSlide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90.xml"/><Relationship Id="rId11" Type="http://schemas.openxmlformats.org/officeDocument/2006/relationships/tags" Target="../tags/tag495.xml"/><Relationship Id="rId24" Type="http://schemas.openxmlformats.org/officeDocument/2006/relationships/tags" Target="../tags/tag508.xml"/><Relationship Id="rId32" Type="http://schemas.openxmlformats.org/officeDocument/2006/relationships/tags" Target="../tags/tag516.xml"/><Relationship Id="rId37" Type="http://schemas.openxmlformats.org/officeDocument/2006/relationships/tags" Target="../tags/tag521.xml"/><Relationship Id="rId40" Type="http://schemas.openxmlformats.org/officeDocument/2006/relationships/tags" Target="../tags/tag524.xml"/><Relationship Id="rId45" Type="http://schemas.openxmlformats.org/officeDocument/2006/relationships/tags" Target="../tags/tag529.xml"/><Relationship Id="rId53" Type="http://schemas.openxmlformats.org/officeDocument/2006/relationships/slideLayout" Target="../slideLayouts/slideLayout2.xml"/><Relationship Id="rId58" Type="http://schemas.openxmlformats.org/officeDocument/2006/relationships/image" Target="../media/image8.jpeg"/><Relationship Id="rId5" Type="http://schemas.openxmlformats.org/officeDocument/2006/relationships/tags" Target="../tags/tag489.xml"/><Relationship Id="rId15" Type="http://schemas.openxmlformats.org/officeDocument/2006/relationships/tags" Target="../tags/tag499.xml"/><Relationship Id="rId23" Type="http://schemas.openxmlformats.org/officeDocument/2006/relationships/tags" Target="../tags/tag507.xml"/><Relationship Id="rId28" Type="http://schemas.openxmlformats.org/officeDocument/2006/relationships/tags" Target="../tags/tag512.xml"/><Relationship Id="rId36" Type="http://schemas.openxmlformats.org/officeDocument/2006/relationships/tags" Target="../tags/tag520.xml"/><Relationship Id="rId49" Type="http://schemas.openxmlformats.org/officeDocument/2006/relationships/tags" Target="../tags/tag533.xml"/><Relationship Id="rId57" Type="http://schemas.openxmlformats.org/officeDocument/2006/relationships/chart" Target="../charts/chart6.xml"/><Relationship Id="rId10" Type="http://schemas.openxmlformats.org/officeDocument/2006/relationships/tags" Target="../tags/tag494.xml"/><Relationship Id="rId19" Type="http://schemas.openxmlformats.org/officeDocument/2006/relationships/tags" Target="../tags/tag503.xml"/><Relationship Id="rId31" Type="http://schemas.openxmlformats.org/officeDocument/2006/relationships/tags" Target="../tags/tag515.xml"/><Relationship Id="rId44" Type="http://schemas.openxmlformats.org/officeDocument/2006/relationships/tags" Target="../tags/tag528.xml"/><Relationship Id="rId52" Type="http://schemas.openxmlformats.org/officeDocument/2006/relationships/tags" Target="../tags/tag536.xml"/><Relationship Id="rId60" Type="http://schemas.openxmlformats.org/officeDocument/2006/relationships/image" Target="../media/image10.png"/><Relationship Id="rId4" Type="http://schemas.openxmlformats.org/officeDocument/2006/relationships/tags" Target="../tags/tag488.xml"/><Relationship Id="rId9" Type="http://schemas.openxmlformats.org/officeDocument/2006/relationships/tags" Target="../tags/tag493.xml"/><Relationship Id="rId14" Type="http://schemas.openxmlformats.org/officeDocument/2006/relationships/tags" Target="../tags/tag498.xml"/><Relationship Id="rId22" Type="http://schemas.openxmlformats.org/officeDocument/2006/relationships/tags" Target="../tags/tag506.xml"/><Relationship Id="rId27" Type="http://schemas.openxmlformats.org/officeDocument/2006/relationships/tags" Target="../tags/tag511.xml"/><Relationship Id="rId30" Type="http://schemas.openxmlformats.org/officeDocument/2006/relationships/tags" Target="../tags/tag514.xml"/><Relationship Id="rId35" Type="http://schemas.openxmlformats.org/officeDocument/2006/relationships/tags" Target="../tags/tag519.xml"/><Relationship Id="rId43" Type="http://schemas.openxmlformats.org/officeDocument/2006/relationships/tags" Target="../tags/tag527.xml"/><Relationship Id="rId48" Type="http://schemas.openxmlformats.org/officeDocument/2006/relationships/tags" Target="../tags/tag532.xml"/><Relationship Id="rId56" Type="http://schemas.openxmlformats.org/officeDocument/2006/relationships/image" Target="../media/image6.emf"/><Relationship Id="rId8" Type="http://schemas.openxmlformats.org/officeDocument/2006/relationships/tags" Target="../tags/tag492.xml"/><Relationship Id="rId51" Type="http://schemas.openxmlformats.org/officeDocument/2006/relationships/tags" Target="../tags/tag535.xml"/><Relationship Id="rId3" Type="http://schemas.openxmlformats.org/officeDocument/2006/relationships/tags" Target="../tags/tag48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43.xml"/><Relationship Id="rId13" Type="http://schemas.openxmlformats.org/officeDocument/2006/relationships/tags" Target="../tags/tag548.xml"/><Relationship Id="rId18" Type="http://schemas.openxmlformats.org/officeDocument/2006/relationships/tags" Target="../tags/tag553.xml"/><Relationship Id="rId26" Type="http://schemas.openxmlformats.org/officeDocument/2006/relationships/tags" Target="../tags/tag561.xml"/><Relationship Id="rId3" Type="http://schemas.openxmlformats.org/officeDocument/2006/relationships/tags" Target="../tags/tag538.xml"/><Relationship Id="rId21" Type="http://schemas.openxmlformats.org/officeDocument/2006/relationships/tags" Target="../tags/tag556.xml"/><Relationship Id="rId34" Type="http://schemas.openxmlformats.org/officeDocument/2006/relationships/tags" Target="../tags/tag569.xml"/><Relationship Id="rId7" Type="http://schemas.openxmlformats.org/officeDocument/2006/relationships/tags" Target="../tags/tag542.xml"/><Relationship Id="rId12" Type="http://schemas.openxmlformats.org/officeDocument/2006/relationships/tags" Target="../tags/tag547.xml"/><Relationship Id="rId17" Type="http://schemas.openxmlformats.org/officeDocument/2006/relationships/tags" Target="../tags/tag552.xml"/><Relationship Id="rId25" Type="http://schemas.openxmlformats.org/officeDocument/2006/relationships/tags" Target="../tags/tag560.xml"/><Relationship Id="rId33" Type="http://schemas.openxmlformats.org/officeDocument/2006/relationships/tags" Target="../tags/tag568.xml"/><Relationship Id="rId38" Type="http://schemas.openxmlformats.org/officeDocument/2006/relationships/chart" Target="../charts/chart7.xml"/><Relationship Id="rId2" Type="http://schemas.openxmlformats.org/officeDocument/2006/relationships/tags" Target="../tags/tag537.xml"/><Relationship Id="rId16" Type="http://schemas.openxmlformats.org/officeDocument/2006/relationships/tags" Target="../tags/tag551.xml"/><Relationship Id="rId20" Type="http://schemas.openxmlformats.org/officeDocument/2006/relationships/tags" Target="../tags/tag555.xml"/><Relationship Id="rId29" Type="http://schemas.openxmlformats.org/officeDocument/2006/relationships/tags" Target="../tags/tag56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41.xml"/><Relationship Id="rId11" Type="http://schemas.openxmlformats.org/officeDocument/2006/relationships/tags" Target="../tags/tag546.xml"/><Relationship Id="rId24" Type="http://schemas.openxmlformats.org/officeDocument/2006/relationships/tags" Target="../tags/tag559.xml"/><Relationship Id="rId32" Type="http://schemas.openxmlformats.org/officeDocument/2006/relationships/tags" Target="../tags/tag567.xml"/><Relationship Id="rId37" Type="http://schemas.openxmlformats.org/officeDocument/2006/relationships/image" Target="../media/image6.emf"/><Relationship Id="rId5" Type="http://schemas.openxmlformats.org/officeDocument/2006/relationships/tags" Target="../tags/tag540.xml"/><Relationship Id="rId15" Type="http://schemas.openxmlformats.org/officeDocument/2006/relationships/tags" Target="../tags/tag550.xml"/><Relationship Id="rId23" Type="http://schemas.openxmlformats.org/officeDocument/2006/relationships/tags" Target="../tags/tag558.xml"/><Relationship Id="rId28" Type="http://schemas.openxmlformats.org/officeDocument/2006/relationships/tags" Target="../tags/tag563.xml"/><Relationship Id="rId36" Type="http://schemas.openxmlformats.org/officeDocument/2006/relationships/oleObject" Target="../embeddings/oleObject11.bin"/><Relationship Id="rId10" Type="http://schemas.openxmlformats.org/officeDocument/2006/relationships/tags" Target="../tags/tag545.xml"/><Relationship Id="rId19" Type="http://schemas.openxmlformats.org/officeDocument/2006/relationships/tags" Target="../tags/tag554.xml"/><Relationship Id="rId31" Type="http://schemas.openxmlformats.org/officeDocument/2006/relationships/tags" Target="../tags/tag566.xml"/><Relationship Id="rId4" Type="http://schemas.openxmlformats.org/officeDocument/2006/relationships/tags" Target="../tags/tag539.xml"/><Relationship Id="rId9" Type="http://schemas.openxmlformats.org/officeDocument/2006/relationships/tags" Target="../tags/tag544.xml"/><Relationship Id="rId14" Type="http://schemas.openxmlformats.org/officeDocument/2006/relationships/tags" Target="../tags/tag549.xml"/><Relationship Id="rId22" Type="http://schemas.openxmlformats.org/officeDocument/2006/relationships/tags" Target="../tags/tag557.xml"/><Relationship Id="rId27" Type="http://schemas.openxmlformats.org/officeDocument/2006/relationships/tags" Target="../tags/tag562.xml"/><Relationship Id="rId30" Type="http://schemas.openxmlformats.org/officeDocument/2006/relationships/tags" Target="../tags/tag565.xml"/><Relationship Id="rId35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76.xml"/><Relationship Id="rId13" Type="http://schemas.openxmlformats.org/officeDocument/2006/relationships/tags" Target="../tags/tag581.xml"/><Relationship Id="rId18" Type="http://schemas.openxmlformats.org/officeDocument/2006/relationships/tags" Target="../tags/tag586.xml"/><Relationship Id="rId26" Type="http://schemas.openxmlformats.org/officeDocument/2006/relationships/tags" Target="../tags/tag594.xml"/><Relationship Id="rId3" Type="http://schemas.openxmlformats.org/officeDocument/2006/relationships/tags" Target="../tags/tag571.xml"/><Relationship Id="rId21" Type="http://schemas.openxmlformats.org/officeDocument/2006/relationships/tags" Target="../tags/tag589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575.xml"/><Relationship Id="rId12" Type="http://schemas.openxmlformats.org/officeDocument/2006/relationships/tags" Target="../tags/tag580.xml"/><Relationship Id="rId17" Type="http://schemas.openxmlformats.org/officeDocument/2006/relationships/tags" Target="../tags/tag585.xml"/><Relationship Id="rId25" Type="http://schemas.openxmlformats.org/officeDocument/2006/relationships/tags" Target="../tags/tag593.xml"/><Relationship Id="rId33" Type="http://schemas.openxmlformats.org/officeDocument/2006/relationships/tags" Target="../tags/tag601.xml"/><Relationship Id="rId38" Type="http://schemas.openxmlformats.org/officeDocument/2006/relationships/comments" Target="../comments/comment1.xml"/><Relationship Id="rId2" Type="http://schemas.openxmlformats.org/officeDocument/2006/relationships/tags" Target="../tags/tag570.xml"/><Relationship Id="rId16" Type="http://schemas.openxmlformats.org/officeDocument/2006/relationships/tags" Target="../tags/tag584.xml"/><Relationship Id="rId20" Type="http://schemas.openxmlformats.org/officeDocument/2006/relationships/tags" Target="../tags/tag588.xml"/><Relationship Id="rId29" Type="http://schemas.openxmlformats.org/officeDocument/2006/relationships/tags" Target="../tags/tag59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574.xml"/><Relationship Id="rId11" Type="http://schemas.openxmlformats.org/officeDocument/2006/relationships/tags" Target="../tags/tag579.xml"/><Relationship Id="rId24" Type="http://schemas.openxmlformats.org/officeDocument/2006/relationships/tags" Target="../tags/tag592.xml"/><Relationship Id="rId32" Type="http://schemas.openxmlformats.org/officeDocument/2006/relationships/tags" Target="../tags/tag600.xml"/><Relationship Id="rId37" Type="http://schemas.openxmlformats.org/officeDocument/2006/relationships/chart" Target="../charts/chart8.xml"/><Relationship Id="rId5" Type="http://schemas.openxmlformats.org/officeDocument/2006/relationships/tags" Target="../tags/tag573.xml"/><Relationship Id="rId15" Type="http://schemas.openxmlformats.org/officeDocument/2006/relationships/tags" Target="../tags/tag583.xml"/><Relationship Id="rId23" Type="http://schemas.openxmlformats.org/officeDocument/2006/relationships/tags" Target="../tags/tag591.xml"/><Relationship Id="rId28" Type="http://schemas.openxmlformats.org/officeDocument/2006/relationships/tags" Target="../tags/tag596.xml"/><Relationship Id="rId36" Type="http://schemas.openxmlformats.org/officeDocument/2006/relationships/image" Target="../media/image6.emf"/><Relationship Id="rId10" Type="http://schemas.openxmlformats.org/officeDocument/2006/relationships/tags" Target="../tags/tag578.xml"/><Relationship Id="rId19" Type="http://schemas.openxmlformats.org/officeDocument/2006/relationships/tags" Target="../tags/tag587.xml"/><Relationship Id="rId31" Type="http://schemas.openxmlformats.org/officeDocument/2006/relationships/tags" Target="../tags/tag599.xml"/><Relationship Id="rId4" Type="http://schemas.openxmlformats.org/officeDocument/2006/relationships/tags" Target="../tags/tag572.xml"/><Relationship Id="rId9" Type="http://schemas.openxmlformats.org/officeDocument/2006/relationships/tags" Target="../tags/tag577.xml"/><Relationship Id="rId14" Type="http://schemas.openxmlformats.org/officeDocument/2006/relationships/tags" Target="../tags/tag582.xml"/><Relationship Id="rId22" Type="http://schemas.openxmlformats.org/officeDocument/2006/relationships/tags" Target="../tags/tag590.xml"/><Relationship Id="rId27" Type="http://schemas.openxmlformats.org/officeDocument/2006/relationships/tags" Target="../tags/tag595.xml"/><Relationship Id="rId30" Type="http://schemas.openxmlformats.org/officeDocument/2006/relationships/tags" Target="../tags/tag598.xml"/><Relationship Id="rId35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022061"/>
              </p:ext>
            </p:extLst>
          </p:nvPr>
        </p:nvGraphicFramePr>
        <p:xfrm>
          <a:off x="1588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0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801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ts val="3988"/>
              </a:lnSpc>
              <a:spcBef>
                <a:spcPct val="0"/>
              </a:spcBef>
            </a:pPr>
            <a:endParaRPr kumimoji="0" lang="en-US" sz="28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4470403" y="2798764"/>
            <a:ext cx="2935288" cy="560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7483" tIns="33741" rIns="67483" bIns="33741">
            <a:spAutoFit/>
          </a:bodyPr>
          <a:lstStyle>
            <a:lvl1pPr defTabSz="674688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674688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en-US" altLang="zh-CN" sz="3200" dirty="0">
                <a:solidFill>
                  <a:schemeClr val="bg1"/>
                </a:solidFill>
                <a:ea typeface="宋体" pitchFamily="2" charset="-122"/>
              </a:rPr>
              <a:t>BILD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69899" y="4138617"/>
            <a:ext cx="9263621" cy="574675"/>
          </a:xfrm>
        </p:spPr>
        <p:txBody>
          <a:bodyPr/>
          <a:lstStyle/>
          <a:p>
            <a:r>
              <a:rPr lang="en-US" dirty="0" smtClean="0"/>
              <a:t>Long </a:t>
            </a:r>
            <a:r>
              <a:rPr lang="en-US" dirty="0"/>
              <a:t>Term </a:t>
            </a:r>
            <a:r>
              <a:rPr lang="en-US" dirty="0" smtClean="0"/>
              <a:t>Trend</a:t>
            </a:r>
            <a:endParaRPr lang="en-US" altLang="zh-CN" sz="2800" dirty="0" smtClean="0">
              <a:ea typeface="宋体" pitchFamily="2" charset="-122"/>
            </a:endParaRPr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t="59120" r="3831" b="2065"/>
          <a:stretch>
            <a:fillRect/>
          </a:stretch>
        </p:blipFill>
        <p:spPr bwMode="auto">
          <a:xfrm>
            <a:off x="389380" y="1752600"/>
            <a:ext cx="9097963" cy="238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ubtitle 4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46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8760193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827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29" name="Straight Connector 28"/>
          <p:cNvCxnSpPr/>
          <p:nvPr>
            <p:custDataLst>
              <p:tags r:id="rId4"/>
            </p:custDataLst>
          </p:nvPr>
        </p:nvCxnSpPr>
        <p:spPr bwMode="auto">
          <a:xfrm>
            <a:off x="4213226" y="2727325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5"/>
            </p:custDataLst>
          </p:nvPr>
        </p:nvCxnSpPr>
        <p:spPr bwMode="auto">
          <a:xfrm>
            <a:off x="3201989" y="247015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6"/>
            </p:custDataLst>
          </p:nvPr>
        </p:nvCxnSpPr>
        <p:spPr bwMode="auto">
          <a:xfrm>
            <a:off x="7248526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 bwMode="auto">
          <a:xfrm>
            <a:off x="2189164" y="254635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8"/>
            </p:custDataLst>
          </p:nvPr>
        </p:nvCxnSpPr>
        <p:spPr bwMode="auto">
          <a:xfrm>
            <a:off x="1177926" y="20320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9"/>
            </p:custDataLst>
          </p:nvPr>
        </p:nvCxnSpPr>
        <p:spPr bwMode="auto">
          <a:xfrm>
            <a:off x="8259764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 bwMode="auto">
          <a:xfrm>
            <a:off x="6235701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11"/>
            </p:custDataLst>
          </p:nvPr>
        </p:nvCxnSpPr>
        <p:spPr bwMode="auto">
          <a:xfrm>
            <a:off x="5224464" y="2984500"/>
            <a:ext cx="44926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ctangle 8"/>
          <p:cNvSpPr/>
          <p:nvPr>
            <p:custDataLst>
              <p:tags r:id="rId12"/>
            </p:custDataLst>
          </p:nvPr>
        </p:nvSpPr>
        <p:spPr bwMode="auto">
          <a:xfrm>
            <a:off x="6684964" y="2981325"/>
            <a:ext cx="563563" cy="6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angle 21"/>
          <p:cNvSpPr/>
          <p:nvPr>
            <p:custDataLst>
              <p:tags r:id="rId13"/>
            </p:custDataLst>
          </p:nvPr>
        </p:nvSpPr>
        <p:spPr bwMode="auto">
          <a:xfrm>
            <a:off x="5673726" y="2981325"/>
            <a:ext cx="561975" cy="6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tangle 9"/>
          <p:cNvSpPr/>
          <p:nvPr>
            <p:custDataLst>
              <p:tags r:id="rId14"/>
            </p:custDataLst>
          </p:nvPr>
        </p:nvSpPr>
        <p:spPr bwMode="auto">
          <a:xfrm>
            <a:off x="7697789" y="2981325"/>
            <a:ext cx="561975" cy="6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69" name="Chart 68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89242765"/>
              </p:ext>
            </p:extLst>
          </p:nvPr>
        </p:nvGraphicFramePr>
        <p:xfrm>
          <a:off x="309563" y="1949450"/>
          <a:ext cx="9269412" cy="207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 useBgFill="1">
        <p:nvSpPr>
          <p:cNvPr id="7" name="Freeform 6"/>
          <p:cNvSpPr/>
          <p:nvPr>
            <p:custDataLst>
              <p:tags r:id="rId16"/>
            </p:custDataLst>
          </p:nvPr>
        </p:nvSpPr>
        <p:spPr bwMode="auto">
          <a:xfrm>
            <a:off x="577850" y="3349625"/>
            <a:ext cx="638176" cy="228600"/>
          </a:xfrm>
          <a:custGeom>
            <a:avLst/>
            <a:gdLst/>
            <a:ahLst/>
            <a:cxnLst/>
            <a:rect l="0" t="0" r="0" b="0"/>
            <a:pathLst>
              <a:path w="638176" h="228601">
                <a:moveTo>
                  <a:pt x="0" y="171450"/>
                </a:moveTo>
                <a:lnTo>
                  <a:pt x="638175" y="0"/>
                </a:lnTo>
                <a:lnTo>
                  <a:pt x="638175" y="57150"/>
                </a:lnTo>
                <a:lnTo>
                  <a:pt x="0" y="2286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26" name="Freeform 25"/>
          <p:cNvSpPr/>
          <p:nvPr>
            <p:custDataLst>
              <p:tags r:id="rId17"/>
            </p:custDataLst>
          </p:nvPr>
        </p:nvSpPr>
        <p:spPr bwMode="auto">
          <a:xfrm>
            <a:off x="8670925" y="3349625"/>
            <a:ext cx="638176" cy="228600"/>
          </a:xfrm>
          <a:custGeom>
            <a:avLst/>
            <a:gdLst/>
            <a:ahLst/>
            <a:cxnLst/>
            <a:rect l="0" t="0" r="0" b="0"/>
            <a:pathLst>
              <a:path w="638176" h="228601">
                <a:moveTo>
                  <a:pt x="0" y="171450"/>
                </a:moveTo>
                <a:lnTo>
                  <a:pt x="638175" y="0"/>
                </a:lnTo>
                <a:lnTo>
                  <a:pt x="638175" y="57150"/>
                </a:lnTo>
                <a:lnTo>
                  <a:pt x="0" y="2286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Freeform 14"/>
          <p:cNvSpPr/>
          <p:nvPr>
            <p:custDataLst>
              <p:tags r:id="rId18"/>
            </p:custDataLst>
          </p:nvPr>
        </p:nvSpPr>
        <p:spPr bwMode="auto">
          <a:xfrm>
            <a:off x="8670925" y="340677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9"/>
            </p:custDataLst>
          </p:nvPr>
        </p:nvSpPr>
        <p:spPr bwMode="auto">
          <a:xfrm>
            <a:off x="8670925" y="334962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Freeform 4"/>
          <p:cNvSpPr/>
          <p:nvPr>
            <p:custDataLst>
              <p:tags r:id="rId20"/>
            </p:custDataLst>
          </p:nvPr>
        </p:nvSpPr>
        <p:spPr bwMode="auto">
          <a:xfrm>
            <a:off x="577850" y="334962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Freeform 5"/>
          <p:cNvSpPr/>
          <p:nvPr>
            <p:custDataLst>
              <p:tags r:id="rId21"/>
            </p:custDataLst>
          </p:nvPr>
        </p:nvSpPr>
        <p:spPr bwMode="auto">
          <a:xfrm>
            <a:off x="577850" y="3406775"/>
            <a:ext cx="638176" cy="171450"/>
          </a:xfrm>
          <a:custGeom>
            <a:avLst/>
            <a:gdLst/>
            <a:ahLst/>
            <a:cxnLst/>
            <a:rect l="0" t="0" r="0" b="0"/>
            <a:pathLst>
              <a:path w="638176" h="171451">
                <a:moveTo>
                  <a:pt x="0" y="171450"/>
                </a:moveTo>
                <a:lnTo>
                  <a:pt x="6381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2" name="Straight Connector 121"/>
          <p:cNvCxnSpPr/>
          <p:nvPr>
            <p:custDataLst>
              <p:tags r:id="rId22"/>
            </p:custDataLst>
          </p:nvPr>
        </p:nvCxnSpPr>
        <p:spPr bwMode="auto">
          <a:xfrm flipV="1">
            <a:off x="896938" y="17240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23"/>
            </p:custDataLst>
          </p:nvPr>
        </p:nvCxnSpPr>
        <p:spPr bwMode="auto">
          <a:xfrm>
            <a:off x="896939" y="1724025"/>
            <a:ext cx="809307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Straight Connector 123"/>
          <p:cNvCxnSpPr/>
          <p:nvPr>
            <p:custDataLst>
              <p:tags r:id="rId24"/>
            </p:custDataLst>
          </p:nvPr>
        </p:nvCxnSpPr>
        <p:spPr bwMode="auto">
          <a:xfrm>
            <a:off x="8990013" y="1724025"/>
            <a:ext cx="0" cy="10287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25"/>
            </p:custDataLst>
          </p:nvPr>
        </p:nvCxnSpPr>
        <p:spPr bwMode="auto">
          <a:xfrm>
            <a:off x="4943475" y="270192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Rectangle 7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1697038" y="212090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264EF732-2357-4894-9866-1F24888731DC}" type="datetime'2'',''''''''''''''''''0''''''''''''0''''''''0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2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1544638" y="3986213"/>
            <a:ext cx="7270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03A8B29-ECDD-4CAD-9BE6-3CE5433644B7}" type="datetime'T''''ot''''''''a''l'' Ma''r''ket'' ''''''''''ef''f''ect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Total Market effect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523038" y="3986213"/>
            <a:ext cx="887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8016EE7-05CB-44D4-95F3-E1A9BD03386E}" type="datetime'''J''A''''C-V''W ''C''ha''''''''n''''''''''''''g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JAC-VW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640388" y="3986213"/>
            <a:ext cx="6302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74521A8-7780-4917-88C8-1D74E9C58ACF}" type="datetime'''J''''''e''t''ta ''Br''a''nd Cha''n''g''''e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Jetta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7688263" y="3986213"/>
            <a:ext cx="58261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BF9853E-8B3D-4CC0-AD73-179250830791}" type="datetime'Oth''e''r'' FB''U'' ''C''''''''h''''a''''n''''g''''''''''''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Other FBU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591050" y="3986213"/>
            <a:ext cx="7064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66DAD46-3C77-4A22-BEE6-98C8FAFACC2A}" type="datetime'S''''k''''od''a'' Br''''''''a''nd'' ''C''han''g''''''''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Skoda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732838" y="398621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602E595-9A61-4472-89C0-73C971BF0F42}" type="datetime' ''''''P''''''''R''''69''''''''''''.O''''''''''''''''P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8782050" y="2790825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BDFEF64-9162-48A8-A52F-756B94CC043E}" type="datetime'''''''''2''''''0,''''3''''''''''0''''''''0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0,300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732338" y="236537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F176EADC-5541-4166-98FB-DC327DC201C6}" type="datetime'''''''''''''1'''''''''',''''0''''''''''''0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1.8%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3619500" y="3986213"/>
            <a:ext cx="6254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670FE76-16DB-4C4F-9A39-70635879D953}" type="datetime'''Au''''''d''''i'' Br''''''a''n''d'''''' C''h''''an''''''''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Audi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3721100" y="243046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2A0F1DA1-FD0E-43BB-B26D-E90381F865F4}" type="datetime'1'''''''',''''''''''''''''''''''0''''''''''''''0''0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2635250" y="3986213"/>
            <a:ext cx="56991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9C81158-5872-4BC0-8C1D-3B4211D4B8C2}" type="datetime'V''''''W ''B''rand'''''' ''C''''''h''''''a''''''ng''''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VW Brand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2693988" y="2339975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9890DA8-74BF-482E-A6BB-6063C2C26D75}" type="datetime'''''''''''3''''''''''''''0''''''''''''''''''''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3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688975" y="1838325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460A2BC-2E30-4EE2-BDCB-DFB0F034A551}" type="datetime'2''''''''''''''''''4'''''''',''''''00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4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439738" y="3986213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4619625" y="148590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42DD9FE-86BC-49B0-89C5-C29A0533E61A}" type="datetime'-''''''''''''''''''''3'',''''''''7''''''''''''''00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3,70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/>
            </a:r>
            <a:b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1802667E-D8CC-46BD-9AF7-2CA07AB5D915}" type="datetime'''''-''1''''5''.''''4''''%''''''''''''''''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5.4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228138" y="6548438"/>
            <a:ext cx="677862" cy="179387"/>
          </a:xfrm>
        </p:spPr>
        <p:txBody>
          <a:bodyPr/>
          <a:lstStyle/>
          <a:p>
            <a:pPr marL="0" marR="0" lvl="0" indent="0" algn="r" defTabSz="958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CF5D4C-9F6E-4E1F-A3C5-05B84EDEF6B8}" type="slidenum"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548438"/>
            <a:ext cx="1511300" cy="179387"/>
          </a:xfrm>
        </p:spPr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Group Market and Sales Steering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69755" y="3093586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ICE: -6.0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NEV: -13.6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-7.9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</a:t>
            </a:r>
            <a:r>
              <a:rPr lang="en-US" sz="800" dirty="0" smtClean="0">
                <a:solidFill>
                  <a:srgbClr val="000000"/>
                </a:solidFill>
                <a:latin typeface="VWAG TheSans"/>
              </a:rPr>
              <a:t>.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: +0.6%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5184"/>
              </p:ext>
            </p:extLst>
          </p:nvPr>
        </p:nvGraphicFramePr>
        <p:xfrm>
          <a:off x="392112" y="4297907"/>
          <a:ext cx="9104312" cy="2057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Market Effect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17256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VW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Audi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172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Skoda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Jetta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314470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JAC-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065696"/>
                  </a:ext>
                </a:extLst>
              </a:tr>
              <a:tr h="21725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Other</a:t>
                      </a:r>
                      <a:r>
                        <a:rPr lang="en-US" sz="900" b="1" baseline="0" dirty="0" smtClean="0">
                          <a:latin typeface="+mn-lt"/>
                        </a:rPr>
                        <a:t> FBU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3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576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6785416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85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23" name="Straight Connector 22"/>
          <p:cNvCxnSpPr/>
          <p:nvPr>
            <p:custDataLst>
              <p:tags r:id="rId4"/>
            </p:custDataLst>
          </p:nvPr>
        </p:nvCxnSpPr>
        <p:spPr bwMode="auto">
          <a:xfrm>
            <a:off x="3106738" y="2363788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5"/>
            </p:custDataLst>
          </p:nvPr>
        </p:nvCxnSpPr>
        <p:spPr bwMode="auto">
          <a:xfrm>
            <a:off x="7646988" y="3203575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6"/>
            </p:custDataLst>
          </p:nvPr>
        </p:nvCxnSpPr>
        <p:spPr bwMode="auto">
          <a:xfrm>
            <a:off x="1592263" y="208280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7"/>
            </p:custDataLst>
          </p:nvPr>
        </p:nvCxnSpPr>
        <p:spPr bwMode="auto">
          <a:xfrm>
            <a:off x="4619625" y="2643188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8"/>
            </p:custDataLst>
          </p:nvPr>
        </p:nvCxnSpPr>
        <p:spPr bwMode="auto">
          <a:xfrm>
            <a:off x="6132513" y="2924175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70" name="Chart 69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40080395"/>
              </p:ext>
            </p:extLst>
          </p:nvPr>
        </p:nvGraphicFramePr>
        <p:xfrm>
          <a:off x="333375" y="2000250"/>
          <a:ext cx="9245600" cy="2414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 useBgFill="1">
        <p:nvSpPr>
          <p:cNvPr id="34" name="Freeform 33"/>
          <p:cNvSpPr/>
          <p:nvPr>
            <p:custDataLst>
              <p:tags r:id="rId10"/>
            </p:custDataLst>
          </p:nvPr>
        </p:nvSpPr>
        <p:spPr bwMode="auto">
          <a:xfrm>
            <a:off x="8280400" y="3616325"/>
            <a:ext cx="917576" cy="304800"/>
          </a:xfrm>
          <a:custGeom>
            <a:avLst/>
            <a:gdLst/>
            <a:ahLst/>
            <a:cxnLst/>
            <a:rect l="0" t="0" r="0" b="0"/>
            <a:pathLst>
              <a:path w="917576" h="304801">
                <a:moveTo>
                  <a:pt x="0" y="247650"/>
                </a:moveTo>
                <a:lnTo>
                  <a:pt x="917575" y="0"/>
                </a:lnTo>
                <a:lnTo>
                  <a:pt x="917575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28" name="Freeform 27"/>
          <p:cNvSpPr/>
          <p:nvPr>
            <p:custDataLst>
              <p:tags r:id="rId11"/>
            </p:custDataLst>
          </p:nvPr>
        </p:nvSpPr>
        <p:spPr bwMode="auto">
          <a:xfrm>
            <a:off x="712788" y="3616325"/>
            <a:ext cx="917576" cy="304800"/>
          </a:xfrm>
          <a:custGeom>
            <a:avLst/>
            <a:gdLst/>
            <a:ahLst/>
            <a:cxnLst/>
            <a:rect l="0" t="0" r="0" b="0"/>
            <a:pathLst>
              <a:path w="917576" h="304801">
                <a:moveTo>
                  <a:pt x="0" y="247650"/>
                </a:moveTo>
                <a:lnTo>
                  <a:pt x="917575" y="0"/>
                </a:lnTo>
                <a:lnTo>
                  <a:pt x="917575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Freeform 32"/>
          <p:cNvSpPr/>
          <p:nvPr>
            <p:custDataLst>
              <p:tags r:id="rId12"/>
            </p:custDataLst>
          </p:nvPr>
        </p:nvSpPr>
        <p:spPr bwMode="auto">
          <a:xfrm>
            <a:off x="8280400" y="3673475"/>
            <a:ext cx="917576" cy="247650"/>
          </a:xfrm>
          <a:custGeom>
            <a:avLst/>
            <a:gdLst/>
            <a:ahLst/>
            <a:cxnLst/>
            <a:rect l="0" t="0" r="0" b="0"/>
            <a:pathLst>
              <a:path w="917576" h="247651">
                <a:moveTo>
                  <a:pt x="0" y="247650"/>
                </a:moveTo>
                <a:lnTo>
                  <a:pt x="9175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Freeform 31"/>
          <p:cNvSpPr/>
          <p:nvPr>
            <p:custDataLst>
              <p:tags r:id="rId13"/>
            </p:custDataLst>
          </p:nvPr>
        </p:nvSpPr>
        <p:spPr bwMode="auto">
          <a:xfrm>
            <a:off x="8280400" y="3616325"/>
            <a:ext cx="917576" cy="247650"/>
          </a:xfrm>
          <a:custGeom>
            <a:avLst/>
            <a:gdLst/>
            <a:ahLst/>
            <a:cxnLst/>
            <a:rect l="0" t="0" r="0" b="0"/>
            <a:pathLst>
              <a:path w="917576" h="247651">
                <a:moveTo>
                  <a:pt x="0" y="247650"/>
                </a:moveTo>
                <a:lnTo>
                  <a:pt x="9175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Freeform 24"/>
          <p:cNvSpPr/>
          <p:nvPr>
            <p:custDataLst>
              <p:tags r:id="rId14"/>
            </p:custDataLst>
          </p:nvPr>
        </p:nvSpPr>
        <p:spPr bwMode="auto">
          <a:xfrm>
            <a:off x="712788" y="3616325"/>
            <a:ext cx="917576" cy="247650"/>
          </a:xfrm>
          <a:custGeom>
            <a:avLst/>
            <a:gdLst/>
            <a:ahLst/>
            <a:cxnLst/>
            <a:rect l="0" t="0" r="0" b="0"/>
            <a:pathLst>
              <a:path w="917576" h="247651">
                <a:moveTo>
                  <a:pt x="0" y="247650"/>
                </a:moveTo>
                <a:lnTo>
                  <a:pt x="9175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Freeform 25"/>
          <p:cNvSpPr/>
          <p:nvPr>
            <p:custDataLst>
              <p:tags r:id="rId15"/>
            </p:custDataLst>
          </p:nvPr>
        </p:nvSpPr>
        <p:spPr bwMode="auto">
          <a:xfrm>
            <a:off x="712788" y="3673475"/>
            <a:ext cx="917576" cy="247650"/>
          </a:xfrm>
          <a:custGeom>
            <a:avLst/>
            <a:gdLst/>
            <a:ahLst/>
            <a:cxnLst/>
            <a:rect l="0" t="0" r="0" b="0"/>
            <a:pathLst>
              <a:path w="917576" h="247651">
                <a:moveTo>
                  <a:pt x="0" y="247650"/>
                </a:moveTo>
                <a:lnTo>
                  <a:pt x="917575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4" name="Straight Connector 123"/>
          <p:cNvCxnSpPr/>
          <p:nvPr>
            <p:custDataLst>
              <p:tags r:id="rId16"/>
            </p:custDataLst>
          </p:nvPr>
        </p:nvCxnSpPr>
        <p:spPr bwMode="auto">
          <a:xfrm>
            <a:off x="8739188" y="1774825"/>
            <a:ext cx="0" cy="1196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2" name="Straight Connector 121"/>
          <p:cNvCxnSpPr/>
          <p:nvPr>
            <p:custDataLst>
              <p:tags r:id="rId17"/>
            </p:custDataLst>
          </p:nvPr>
        </p:nvCxnSpPr>
        <p:spPr bwMode="auto">
          <a:xfrm flipV="1">
            <a:off x="1171575" y="177482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18"/>
            </p:custDataLst>
          </p:nvPr>
        </p:nvCxnSpPr>
        <p:spPr bwMode="auto">
          <a:xfrm>
            <a:off x="1171575" y="1774825"/>
            <a:ext cx="75676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19"/>
            </p:custDataLst>
          </p:nvPr>
        </p:nvCxnSpPr>
        <p:spPr bwMode="auto">
          <a:xfrm>
            <a:off x="7226300" y="289877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Rectangle 6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3973513" y="2335213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27716E4-C222-4A17-9769-7F39FE592498}" type="datetime'''''''''''''''''''''''1'''',''0''''''''0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14375" y="4375150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2474913" y="2054225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2CCF07F3-A168-4117-AA0E-64C8158AF99B}" type="datetime'''''1,''''0''''''0''''''''''''''''''''0''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297113" y="4375150"/>
            <a:ext cx="7794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FE3B5D-6036-42A1-89F1-A9E7E347C788}" type="datetime'''''''Tot''a''l M''a''r''ke''t Effe''ct C''''h''a''''nge'''''"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497263" y="4375150"/>
            <a:ext cx="1404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10A01D3-6278-4B2C-97CC-34728D79A5BE}" type="datetime'F''AW''-''V''''W'' ''''''F''urthe''''r'' C''ha''''''''n''''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AW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500688" y="261461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AF9798CE-6E80-45F4-AC84-0A104D1CD6CF}" type="datetime'''''1'''''''''''''''''''''''''''''',''''''''''0''''''''00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018088" y="4375150"/>
            <a:ext cx="13890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CFB0834-1846-4FF0-A371-A196A1EFE1DE}" type="datetime'S''A''''''''I''C-''V''W ''Fur''th''er'' ''''Ch''an''''ge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SAIC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15163" y="25622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E345B4C4-41B5-4317-B5E2-5A377177C29A}" type="datetime'''1'''''''''''''',0''0''''''''''''''''''''''''''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1.8%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667500" y="4375150"/>
            <a:ext cx="11176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7CC6DE6-5869-48EC-9CEF-968E6C24723E}" type="datetime'F''''''BU F''ur''''t''''''h''''''er ''''C''ha''n''ge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BU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482013" y="4375150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35271B-FDD8-4EC2-AE35-1B2081935029}" type="datetime' P''R''''''''''''''''''''''''''6''''''''''9''.''''''O''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963613" y="1889125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FDA6450-695A-452B-A7C6-17E22DF4489D}" type="datetime'''''1''''''''''''0'',''''''''''0''''''''0''''''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8566150" y="300990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4356FA7-0205-4D5B-8572-2E4883FB2819}" type="datetime'6'''''''''''',''0''''''''''''''''''''''''0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630738" y="153670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B8D2F4F-DF67-46D4-82FC-21572FC06E9E}" type="datetime'-''4'',00''''''''''''''''''''''''''''''''0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,00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/>
            </a:r>
            <a:b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C37E8716-811F-49E6-98C4-84244483583A}" type="datetime'''''-''''''''''4''''0''''''''''.''0''''''''''%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0.0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2049464" y="3265488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ICE: -6.0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NEV: -13.6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-7.9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. MKT: +0.6%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1817450"/>
              </p:ext>
            </p:extLst>
          </p:nvPr>
        </p:nvGraphicFramePr>
        <p:xfrm>
          <a:off x="417736" y="4765670"/>
          <a:ext cx="9078689" cy="1600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889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247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VWAG TheSans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Market Effect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28600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FAW-VW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SAIC VW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j-lt"/>
                        </a:rPr>
                        <a:t>JAC-VW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642753"/>
                  </a:ext>
                </a:extLst>
              </a:tr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FBU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</a:tbl>
          </a:graphicData>
        </a:graphic>
      </p:graphicFrame>
      <p:sp>
        <p:nvSpPr>
          <p:cNvPr id="52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76958" y="6558828"/>
            <a:ext cx="2235613" cy="265361"/>
          </a:xfrm>
        </p:spPr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</p:spPr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206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193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876" name="think-cell Slide" r:id="rId28" imgW="470" imgH="469" progId="TCLayout.ActiveDocument.1">
                  <p:embed/>
                </p:oleObj>
              </mc:Choice>
              <mc:Fallback>
                <p:oleObj name="think-cell Slide" r:id="rId28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573213" y="2135188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090863" y="2408238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>
            <a:off x="4608513" y="2681288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auto">
          <a:xfrm>
            <a:off x="6124575" y="2955925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642225" y="3228975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6" name="Chart 35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33622347"/>
              </p:ext>
            </p:extLst>
          </p:nvPr>
        </p:nvGraphicFramePr>
        <p:xfrm>
          <a:off x="309563" y="2052638"/>
          <a:ext cx="9269412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8" name="Straight Connector 17"/>
          <p:cNvCxnSpPr/>
          <p:nvPr>
            <p:custDataLst>
              <p:tags r:id="rId10"/>
            </p:custDataLst>
          </p:nvPr>
        </p:nvCxnSpPr>
        <p:spPr bwMode="auto">
          <a:xfrm flipV="1">
            <a:off x="1150938" y="1793875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1"/>
            </p:custDataLst>
          </p:nvPr>
        </p:nvCxnSpPr>
        <p:spPr bwMode="auto">
          <a:xfrm>
            <a:off x="1150938" y="1793875"/>
            <a:ext cx="758666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2"/>
            </p:custDataLst>
          </p:nvPr>
        </p:nvCxnSpPr>
        <p:spPr bwMode="auto">
          <a:xfrm>
            <a:off x="8737600" y="1793875"/>
            <a:ext cx="0" cy="11699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>
            <p:custDataLst>
              <p:tags r:id="rId13"/>
            </p:custDataLst>
          </p:nvPr>
        </p:nvCxnSpPr>
        <p:spPr bwMode="auto">
          <a:xfrm>
            <a:off x="5702300" y="265588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243513" y="4911725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3940175" y="2376488"/>
            <a:ext cx="49371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CA2CF6D5-838B-4F66-BD10-4B8DD180FA87}" type="datetime'''1'''''''''',0''''0''''0''''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11.7%)</a:t>
            </a: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93738" y="4911725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A77412-7551-4B15-BFEB-D43C8E5799EF}" type="datetime' PR''''69''.''''''''SP ''''''''O''''ff''''i''''ci''a''l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457450" y="210343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0209EB6C-0B9E-4B2F-B77B-C34B13A56D66}" type="datetime'''''''1'''''''',''''''''''''''0''''''''''0''''''''''''''0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7.3%)</a:t>
            </a: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491163" y="2319338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A66E63BA-F199-40C5-9EE1-4C3D7722483D}" type="datetime'''''''''''''''''''''''''''''''''''''''''''1'''',0''0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0.3%)</a:t>
            </a: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790950" y="4911725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2130425" y="4911725"/>
            <a:ext cx="10763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F86122-8E57-42DB-8E1E-90B4A95FA53F}" type="datetime'''Tota''''''l ''Ma''''''''''rk''''''e''t ''E''''''f''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898525" y="1908175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D790761-4C7A-4C02-AEFD-76217CC648A4}" type="datetime'''''''''1''''''0'''',''00''''''''''''''''''''''''0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994525" y="2924175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7890CB1-5E45-4AEC-BFEA-9497999C7F8F}" type="datetime'''''''''''''1'''''',''''''''''''''''''''0''''''0''''''''0'''''">
              <a:rPr lang="en-US" altLang="en-US" sz="1000" b="1" smtClean="0">
                <a:solidFill>
                  <a:srgbClr val="003366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+7.2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861175" y="4911725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480425" y="4911725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F54BCE-66FC-43B5-B933-6CAC2B38469F}" type="datetime''' ''P''''''''''''''''R''''''''''''''''6''''''9''.''''O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528050" y="3001963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2F659BB-16FF-47BC-BC56-05D54BDCA619}" type="datetime'''''''''''''''''''''''6'',0''''''0''''0''''''''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4619625" y="1555750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D9A5C72-DA4B-48C2-B8ED-896058A4B8F6}" type="datetime'''''''''''''-''4,''''''''0''''''''''0''0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,000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/>
            </a:r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</a:t>
            </a:r>
            <a:fld id="{AF4E71C1-F249-481B-AB51-C03623B33863}" type="datetime'''''''''''-''4''0''.''''''''''''''''''''''''''''0''%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0.0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67333" y="1451742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3045319"/>
              </p:ext>
            </p:extLst>
          </p:nvPr>
        </p:nvGraphicFramePr>
        <p:xfrm>
          <a:off x="392116" y="5190718"/>
          <a:ext cx="9097958" cy="116563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127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331609715"/>
                    </a:ext>
                  </a:extLst>
                </a:gridCol>
                <a:gridCol w="64043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331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2030E</a:t>
                      </a:r>
                      <a:endParaRPr lang="en-US" sz="900" b="1" i="0" u="none" strike="noStrike" dirty="0" smtClean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12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3312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3312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33126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25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819379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901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30" name="Straight Connector 29"/>
          <p:cNvCxnSpPr/>
          <p:nvPr>
            <p:custDataLst>
              <p:tags r:id="rId4"/>
            </p:custDataLst>
          </p:nvPr>
        </p:nvCxnSpPr>
        <p:spPr bwMode="auto">
          <a:xfrm>
            <a:off x="5830888" y="28733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5"/>
            </p:custDataLst>
          </p:nvPr>
        </p:nvCxnSpPr>
        <p:spPr bwMode="auto">
          <a:xfrm>
            <a:off x="4694238" y="29114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6"/>
            </p:custDataLst>
          </p:nvPr>
        </p:nvCxnSpPr>
        <p:spPr bwMode="auto">
          <a:xfrm>
            <a:off x="3556000" y="18954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 bwMode="auto">
          <a:xfrm>
            <a:off x="2417763" y="1911350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8"/>
            </p:custDataLst>
          </p:nvPr>
        </p:nvCxnSpPr>
        <p:spPr bwMode="auto">
          <a:xfrm>
            <a:off x="6969125" y="2827338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9"/>
            </p:custDataLst>
          </p:nvPr>
        </p:nvCxnSpPr>
        <p:spPr bwMode="auto">
          <a:xfrm>
            <a:off x="1279525" y="1895475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10"/>
            </p:custDataLst>
          </p:nvPr>
        </p:nvCxnSpPr>
        <p:spPr bwMode="auto">
          <a:xfrm>
            <a:off x="8107363" y="2825750"/>
            <a:ext cx="5048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9"/>
          <p:cNvSpPr/>
          <p:nvPr>
            <p:custDataLst>
              <p:tags r:id="rId11"/>
            </p:custDataLst>
          </p:nvPr>
        </p:nvSpPr>
        <p:spPr bwMode="auto">
          <a:xfrm>
            <a:off x="7473950" y="2825750"/>
            <a:ext cx="633413" cy="158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66" name="Chart 65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62923532"/>
              </p:ext>
            </p:extLst>
          </p:nvPr>
        </p:nvGraphicFramePr>
        <p:xfrm>
          <a:off x="311150" y="1812925"/>
          <a:ext cx="9269413" cy="220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 useBgFill="1">
        <p:nvSpPr>
          <p:cNvPr id="7" name="Freeform 6"/>
          <p:cNvSpPr/>
          <p:nvPr>
            <p:custDataLst>
              <p:tags r:id="rId13"/>
            </p:custDataLst>
          </p:nvPr>
        </p:nvSpPr>
        <p:spPr bwMode="auto">
          <a:xfrm>
            <a:off x="608013" y="3298825"/>
            <a:ext cx="709613" cy="247650"/>
          </a:xfrm>
          <a:custGeom>
            <a:avLst/>
            <a:gdLst/>
            <a:ahLst/>
            <a:cxnLst/>
            <a:rect l="0" t="0" r="0" b="0"/>
            <a:pathLst>
              <a:path w="709613" h="247651">
                <a:moveTo>
                  <a:pt x="0" y="190500"/>
                </a:moveTo>
                <a:lnTo>
                  <a:pt x="709612" y="0"/>
                </a:lnTo>
                <a:lnTo>
                  <a:pt x="709612" y="57150"/>
                </a:lnTo>
                <a:lnTo>
                  <a:pt x="0" y="2476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13" name="Freeform 12"/>
          <p:cNvSpPr/>
          <p:nvPr>
            <p:custDataLst>
              <p:tags r:id="rId14"/>
            </p:custDataLst>
          </p:nvPr>
        </p:nvSpPr>
        <p:spPr bwMode="auto">
          <a:xfrm>
            <a:off x="8574088" y="3298825"/>
            <a:ext cx="709613" cy="247650"/>
          </a:xfrm>
          <a:custGeom>
            <a:avLst/>
            <a:gdLst/>
            <a:ahLst/>
            <a:cxnLst/>
            <a:rect l="0" t="0" r="0" b="0"/>
            <a:pathLst>
              <a:path w="709613" h="247651">
                <a:moveTo>
                  <a:pt x="0" y="190500"/>
                </a:moveTo>
                <a:lnTo>
                  <a:pt x="709612" y="0"/>
                </a:lnTo>
                <a:lnTo>
                  <a:pt x="709612" y="57150"/>
                </a:lnTo>
                <a:lnTo>
                  <a:pt x="0" y="2476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Freeform 5"/>
          <p:cNvSpPr/>
          <p:nvPr>
            <p:custDataLst>
              <p:tags r:id="rId15"/>
            </p:custDataLst>
          </p:nvPr>
        </p:nvSpPr>
        <p:spPr bwMode="auto">
          <a:xfrm>
            <a:off x="608013" y="335597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Freeform 4"/>
          <p:cNvSpPr/>
          <p:nvPr>
            <p:custDataLst>
              <p:tags r:id="rId16"/>
            </p:custDataLst>
          </p:nvPr>
        </p:nvSpPr>
        <p:spPr bwMode="auto">
          <a:xfrm>
            <a:off x="608013" y="329882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7"/>
            </p:custDataLst>
          </p:nvPr>
        </p:nvSpPr>
        <p:spPr bwMode="auto">
          <a:xfrm>
            <a:off x="8574088" y="329882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reeform 8"/>
          <p:cNvSpPr/>
          <p:nvPr>
            <p:custDataLst>
              <p:tags r:id="rId18"/>
            </p:custDataLst>
          </p:nvPr>
        </p:nvSpPr>
        <p:spPr bwMode="auto">
          <a:xfrm>
            <a:off x="8574088" y="3355975"/>
            <a:ext cx="709613" cy="190500"/>
          </a:xfrm>
          <a:custGeom>
            <a:avLst/>
            <a:gdLst/>
            <a:ahLst/>
            <a:cxnLst/>
            <a:rect l="0" t="0" r="0" b="0"/>
            <a:pathLst>
              <a:path w="709613" h="190501">
                <a:moveTo>
                  <a:pt x="0" y="190500"/>
                </a:moveTo>
                <a:lnTo>
                  <a:pt x="709612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2" name="Straight Connector 121"/>
          <p:cNvCxnSpPr/>
          <p:nvPr>
            <p:custDataLst>
              <p:tags r:id="rId19"/>
            </p:custDataLst>
          </p:nvPr>
        </p:nvCxnSpPr>
        <p:spPr bwMode="auto">
          <a:xfrm flipV="1">
            <a:off x="962025" y="1581150"/>
            <a:ext cx="0" cy="825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Straight Connector 123"/>
          <p:cNvCxnSpPr/>
          <p:nvPr>
            <p:custDataLst>
              <p:tags r:id="rId20"/>
            </p:custDataLst>
          </p:nvPr>
        </p:nvCxnSpPr>
        <p:spPr bwMode="auto">
          <a:xfrm>
            <a:off x="8928100" y="1581150"/>
            <a:ext cx="0" cy="101282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Straight Connector 122"/>
          <p:cNvCxnSpPr/>
          <p:nvPr>
            <p:custDataLst>
              <p:tags r:id="rId21"/>
            </p:custDataLst>
          </p:nvPr>
        </p:nvCxnSpPr>
        <p:spPr bwMode="auto">
          <a:xfrm>
            <a:off x="962025" y="1581150"/>
            <a:ext cx="796607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/>
          <p:cNvCxnSpPr/>
          <p:nvPr>
            <p:custDataLst>
              <p:tags r:id="rId22"/>
            </p:custDataLst>
          </p:nvPr>
        </p:nvCxnSpPr>
        <p:spPr bwMode="auto">
          <a:xfrm>
            <a:off x="7789863" y="2800350"/>
            <a:ext cx="0" cy="254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/>
          <p:cNvCxnSpPr/>
          <p:nvPr>
            <p:custDataLst>
              <p:tags r:id="rId23"/>
            </p:custDataLst>
          </p:nvPr>
        </p:nvCxnSpPr>
        <p:spPr bwMode="auto">
          <a:xfrm>
            <a:off x="6651625" y="2801938"/>
            <a:ext cx="0" cy="476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24"/>
            </p:custDataLst>
          </p:nvPr>
        </p:nvCxnSpPr>
        <p:spPr bwMode="auto">
          <a:xfrm>
            <a:off x="5514975" y="2847974"/>
            <a:ext cx="0" cy="4445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Rectangle 54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755063" y="2632075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AD45911-CD87-4644-9BA6-071029684205}" type="datetime'1'''',3''''''''''''''''''''''''''''''''''''9''3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393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1889125" y="173513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4648D07C-83F4-425E-BF12-A7597C95BA2F}" type="datetime'1''''''''''''''''''''''''''''''''7''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7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04825" y="3976688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1563688" y="3976688"/>
            <a:ext cx="1073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3A8B29-ECDD-4CAD-9BE6-3CE5433644B7}" type="datetime'T''''ot''''''''a''l'' Ma''r''ket'' ''''''''''ef''f''e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013075" y="1735138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2BE70B1-0F43-4643-91B3-0C9A0E02DC07}" type="datetime'''''''''''''''''''''''''''''1''''''8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8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2732088" y="3976688"/>
            <a:ext cx="1014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C81158-5872-4BC0-8C1D-3B4211D4B8C2}" type="datetime'V''''''W ''B''rand'''''' ''C''''''h''''''a''''''ng''''e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VW Brand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788988" y="170180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07FE4EC-998C-420A-ADAB-B08E607820DA}" type="datetime'2'',''''''''4''''''''''0''''''''''''''''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2,4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7737475" y="2632075"/>
            <a:ext cx="1047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8924DB9-4014-4D7E-9B30-A50D4941BAD7}" type="datetime'''''''''''''''''''''''''''''''''''''''2'''">
              <a:rPr lang="en-US" altLang="en-US" sz="1000" b="1" smtClean="0">
                <a:solidFill>
                  <a:srgbClr val="000000"/>
                </a:solidFill>
                <a:latin typeface="+mn-lt"/>
                <a:sym typeface="+mn-lt"/>
              </a:rPr>
              <a:pPr lvl="0" algn="ctr">
                <a:spcAft>
                  <a:spcPct val="0"/>
                </a:spcAft>
                <a:defRPr/>
              </a:pPr>
              <a:t>2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277100" y="3976688"/>
            <a:ext cx="10271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BF9853E-8B3D-4CC0-AD73-179250830791}" type="datetime'Oth''e''r'' FB''U'' ''C''''''''h''''a''''n''''g''''''''''''e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ther FBU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8670925" y="3976688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02E595-9A61-4472-89C0-73C971BF0F42}" type="datetime' ''''''P''''''''R''''69''''''''''''.O''''''''''''''''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5162550" y="3976688"/>
            <a:ext cx="7064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6DAD46-3C77-4A22-BEE6-98C8FAFACC2A}" type="datetime'S''''k''''od''a'' Br''''''''a''nd'' ''C''han''g''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koda Brand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5303838" y="25114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53090355-3E27-4919-B235-2AF66F25A8BF}" type="datetime'''''4''''''''''''''''''''''''''''''''''''0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4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1.8%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3841750" y="3976688"/>
            <a:ext cx="10699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670FE76-16DB-4C4F-9A39-70635879D953}" type="datetime'''Au''''''d''''i'' Br''''''a''n''d'''''' C''h''''an''''''''ge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udi Brand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6208713" y="3976688"/>
            <a:ext cx="8874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016EE7-05CB-44D4-95F3-E1A9BD03386E}" type="datetime'''J''A''''C-V''W ''C''ha''''''''n''''''''''''''g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AC-VW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4165600" y="2235200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7BB71F95-AAD4-4F68-A50D-43ED635C8AB7}" type="datetime'''1'''''''''''''''''''''''''''''''',''''1''0''0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1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564313" y="2633663"/>
            <a:ext cx="1746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D6664D0-4143-4CDD-9B41-B314A0C59D83}" type="datetime'''''''''''''''''''''5''''''''''0'">
              <a:rPr lang="en-US" altLang="en-US" sz="1000" b="1" smtClean="0">
                <a:solidFill>
                  <a:srgbClr val="000000"/>
                </a:solidFill>
                <a:latin typeface="+mn-lt"/>
                <a:sym typeface="+mn-lt"/>
              </a:rPr>
              <a:pPr lvl="0" algn="ctr">
                <a:spcAft>
                  <a:spcPct val="0"/>
                </a:spcAft>
                <a:defRPr/>
              </a:pPr>
              <a:t>50</a:t>
            </a:fld>
            <a:endParaRPr kumimoji="0" lang="en-US" sz="1000" b="1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4621213" y="1343025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7763E27-015C-47A9-A97D-83FC2EBB5E57}" type="datetime'''''-''''''''''1'''''''''',''''''''0''0''''''7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1,007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/>
            </a:r>
            <a:b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B73D472E-EDEC-4F50-8A10-132A128C66D4}" type="datetime'''-''''''''''4''2.''''''''''0''%''''''''''''''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2.0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4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228138" y="6548438"/>
            <a:ext cx="677862" cy="179387"/>
          </a:xfrm>
        </p:spPr>
        <p:txBody>
          <a:bodyPr/>
          <a:lstStyle/>
          <a:p>
            <a:pPr marL="0" marR="0" lvl="0" indent="0" algn="r" defTabSz="958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CF5D4C-9F6E-4E1F-A3C5-05B84EDEF6B8}" type="slidenum"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0" y="6548438"/>
            <a:ext cx="1511300" cy="179387"/>
          </a:xfrm>
        </p:spPr>
        <p:txBody>
          <a:bodyPr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69755" y="3093586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ICE: -6.0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NEV: -13.6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-7.9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. MKT: +0.6%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160065"/>
              </p:ext>
            </p:extLst>
          </p:nvPr>
        </p:nvGraphicFramePr>
        <p:xfrm>
          <a:off x="392111" y="4509120"/>
          <a:ext cx="9104311" cy="1828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n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Market Effect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10312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VW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Audi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n-lt"/>
                        </a:rPr>
                        <a:t>Skoda</a:t>
                      </a:r>
                      <a:r>
                        <a:rPr lang="en-US" sz="900" b="1" baseline="0" dirty="0" smtClean="0">
                          <a:latin typeface="+mn-lt"/>
                        </a:rPr>
                        <a:t> Brand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2133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JAC-VW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065696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n-lt"/>
                        </a:rPr>
                        <a:t>Other</a:t>
                      </a:r>
                      <a:r>
                        <a:rPr lang="en-US" sz="900" b="1" baseline="0" dirty="0" smtClean="0">
                          <a:latin typeface="+mn-lt"/>
                        </a:rPr>
                        <a:t> FBU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7393070"/>
                  </a:ext>
                </a:extLst>
              </a:tr>
            </a:tbl>
          </a:graphicData>
        </a:graphic>
      </p:graphicFrame>
      <p:sp>
        <p:nvSpPr>
          <p:cNvPr id="49" name="Title 1"/>
          <p:cNvSpPr txBox="1">
            <a:spLocks/>
          </p:cNvSpPr>
          <p:nvPr/>
        </p:nvSpPr>
        <p:spPr bwMode="auto">
          <a:xfrm>
            <a:off x="393171" y="914931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Title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4731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353416"/>
              </p:ext>
            </p:extLst>
          </p:nvPr>
        </p:nvGraphicFramePr>
        <p:xfrm>
          <a:off x="382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92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382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 fontAlgn="auto">
              <a:lnSpc>
                <a:spcPct val="110000"/>
              </a:lnSpc>
              <a:spcBef>
                <a:spcPct val="0"/>
              </a:spcBef>
            </a:pPr>
            <a:endParaRPr kumimoji="0" lang="en-US" altLang="zh-CN" sz="1000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4"/>
            </p:custDataLst>
          </p:nvPr>
        </p:nvCxnSpPr>
        <p:spPr bwMode="auto">
          <a:xfrm>
            <a:off x="6124575" y="2981325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5"/>
            </p:custDataLst>
          </p:nvPr>
        </p:nvCxnSpPr>
        <p:spPr bwMode="auto">
          <a:xfrm>
            <a:off x="1573213" y="2112963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6"/>
            </p:custDataLst>
          </p:nvPr>
        </p:nvCxnSpPr>
        <p:spPr bwMode="auto">
          <a:xfrm>
            <a:off x="3090863" y="2401888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7"/>
            </p:custDataLst>
          </p:nvPr>
        </p:nvCxnSpPr>
        <p:spPr bwMode="auto">
          <a:xfrm>
            <a:off x="4608513" y="269240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8"/>
            </p:custDataLst>
          </p:nvPr>
        </p:nvCxnSpPr>
        <p:spPr bwMode="auto">
          <a:xfrm>
            <a:off x="7642225" y="327025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45" name="Chart 44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56925668"/>
              </p:ext>
            </p:extLst>
          </p:nvPr>
        </p:nvGraphicFramePr>
        <p:xfrm>
          <a:off x="309563" y="2030413"/>
          <a:ext cx="9269412" cy="248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 useBgFill="1">
        <p:nvSpPr>
          <p:cNvPr id="6" name="Freeform 5"/>
          <p:cNvSpPr/>
          <p:nvPr>
            <p:custDataLst>
              <p:tags r:id="rId10"/>
            </p:custDataLst>
          </p:nvPr>
        </p:nvSpPr>
        <p:spPr bwMode="auto">
          <a:xfrm>
            <a:off x="690563" y="3702050"/>
            <a:ext cx="920751" cy="304801"/>
          </a:xfrm>
          <a:custGeom>
            <a:avLst/>
            <a:gdLst/>
            <a:ahLst/>
            <a:cxnLst/>
            <a:rect l="0" t="0" r="0" b="0"/>
            <a:pathLst>
              <a:path w="920751" h="304801">
                <a:moveTo>
                  <a:pt x="0" y="247650"/>
                </a:moveTo>
                <a:lnTo>
                  <a:pt x="920750" y="0"/>
                </a:lnTo>
                <a:lnTo>
                  <a:pt x="920750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9" name="Freeform 8"/>
          <p:cNvSpPr/>
          <p:nvPr>
            <p:custDataLst>
              <p:tags r:id="rId11"/>
            </p:custDataLst>
          </p:nvPr>
        </p:nvSpPr>
        <p:spPr bwMode="auto">
          <a:xfrm>
            <a:off x="8277225" y="3702050"/>
            <a:ext cx="920751" cy="304801"/>
          </a:xfrm>
          <a:custGeom>
            <a:avLst/>
            <a:gdLst/>
            <a:ahLst/>
            <a:cxnLst/>
            <a:rect l="0" t="0" r="0" b="0"/>
            <a:pathLst>
              <a:path w="920751" h="304801">
                <a:moveTo>
                  <a:pt x="0" y="247650"/>
                </a:moveTo>
                <a:lnTo>
                  <a:pt x="920750" y="0"/>
                </a:lnTo>
                <a:lnTo>
                  <a:pt x="920750" y="57150"/>
                </a:lnTo>
                <a:lnTo>
                  <a:pt x="0" y="3048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reeform 6"/>
          <p:cNvSpPr/>
          <p:nvPr>
            <p:custDataLst>
              <p:tags r:id="rId12"/>
            </p:custDataLst>
          </p:nvPr>
        </p:nvSpPr>
        <p:spPr bwMode="auto">
          <a:xfrm>
            <a:off x="8277225" y="3702050"/>
            <a:ext cx="920751" cy="247651"/>
          </a:xfrm>
          <a:custGeom>
            <a:avLst/>
            <a:gdLst/>
            <a:ahLst/>
            <a:cxnLst/>
            <a:rect l="0" t="0" r="0" b="0"/>
            <a:pathLst>
              <a:path w="920751" h="247651">
                <a:moveTo>
                  <a:pt x="0" y="247650"/>
                </a:moveTo>
                <a:lnTo>
                  <a:pt x="9207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Freeform 2"/>
          <p:cNvSpPr/>
          <p:nvPr>
            <p:custDataLst>
              <p:tags r:id="rId13"/>
            </p:custDataLst>
          </p:nvPr>
        </p:nvSpPr>
        <p:spPr bwMode="auto">
          <a:xfrm>
            <a:off x="690563" y="3702050"/>
            <a:ext cx="920751" cy="247651"/>
          </a:xfrm>
          <a:custGeom>
            <a:avLst/>
            <a:gdLst/>
            <a:ahLst/>
            <a:cxnLst/>
            <a:rect l="0" t="0" r="0" b="0"/>
            <a:pathLst>
              <a:path w="920751" h="247651">
                <a:moveTo>
                  <a:pt x="0" y="247650"/>
                </a:moveTo>
                <a:lnTo>
                  <a:pt x="9207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Freeform 4"/>
          <p:cNvSpPr/>
          <p:nvPr>
            <p:custDataLst>
              <p:tags r:id="rId14"/>
            </p:custDataLst>
          </p:nvPr>
        </p:nvSpPr>
        <p:spPr bwMode="auto">
          <a:xfrm>
            <a:off x="690563" y="3759200"/>
            <a:ext cx="920751" cy="247651"/>
          </a:xfrm>
          <a:custGeom>
            <a:avLst/>
            <a:gdLst/>
            <a:ahLst/>
            <a:cxnLst/>
            <a:rect l="0" t="0" r="0" b="0"/>
            <a:pathLst>
              <a:path w="920751" h="247651">
                <a:moveTo>
                  <a:pt x="0" y="247650"/>
                </a:moveTo>
                <a:lnTo>
                  <a:pt x="9207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5"/>
            </p:custDataLst>
          </p:nvPr>
        </p:nvSpPr>
        <p:spPr bwMode="auto">
          <a:xfrm>
            <a:off x="8277225" y="3759200"/>
            <a:ext cx="920751" cy="247651"/>
          </a:xfrm>
          <a:custGeom>
            <a:avLst/>
            <a:gdLst/>
            <a:ahLst/>
            <a:cxnLst/>
            <a:rect l="0" t="0" r="0" b="0"/>
            <a:pathLst>
              <a:path w="920751" h="247651">
                <a:moveTo>
                  <a:pt x="0" y="247650"/>
                </a:moveTo>
                <a:lnTo>
                  <a:pt x="9207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3" name="Straight Connector 122"/>
          <p:cNvCxnSpPr/>
          <p:nvPr>
            <p:custDataLst>
              <p:tags r:id="rId16"/>
            </p:custDataLst>
          </p:nvPr>
        </p:nvCxnSpPr>
        <p:spPr bwMode="auto">
          <a:xfrm>
            <a:off x="1150938" y="1804988"/>
            <a:ext cx="758666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4" name="Straight Connector 123"/>
          <p:cNvCxnSpPr/>
          <p:nvPr>
            <p:custDataLst>
              <p:tags r:id="rId17"/>
            </p:custDataLst>
          </p:nvPr>
        </p:nvCxnSpPr>
        <p:spPr bwMode="auto">
          <a:xfrm>
            <a:off x="8737600" y="1804988"/>
            <a:ext cx="0" cy="12334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2" name="Straight Connector 121"/>
          <p:cNvCxnSpPr/>
          <p:nvPr>
            <p:custDataLst>
              <p:tags r:id="rId18"/>
            </p:custDataLst>
          </p:nvPr>
        </p:nvCxnSpPr>
        <p:spPr bwMode="auto">
          <a:xfrm flipV="1">
            <a:off x="1150938" y="1804988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Straight Connector 27"/>
          <p:cNvCxnSpPr/>
          <p:nvPr>
            <p:custDataLst>
              <p:tags r:id="rId19"/>
            </p:custDataLst>
          </p:nvPr>
        </p:nvCxnSpPr>
        <p:spPr bwMode="auto">
          <a:xfrm>
            <a:off x="4186238" y="2376488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Rectangle 6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480425" y="4479925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35271B-FDD8-4EC2-AE35-1B2081935029}" type="datetime' P''R''''''''''''''''''''''''''6''''''''''9''.''''''O''P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OP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457450" y="2089150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68F46E12-52F7-46F1-872B-B8162DB3A95C}" type="datetime'''''''''''''''''''''''''1,''''''''0''''''''''0''''''''''''''0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7.3%)</a:t>
            </a: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93738" y="4479925"/>
            <a:ext cx="9144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F887E6A-6E35-4AB4-BD24-6CE32EFA0C18}" type="datetime' PR''6''''''''''''''''9''.''S''P ''''O''''''f''''f''ic''i''al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 PR69.SP Official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279650" y="4479925"/>
            <a:ext cx="7794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EFE3B5D-6036-42A1-89F1-A9E7E347C788}" type="datetime'''''''Tot''a''l M''a''r''ke''t Effe''ct C''''h''a''''nge'''''"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otal Market Effect Chang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8564563" y="3076575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5D4CB3E-E882-4882-8329-B0FBE21211A2}" type="datetime'''''6,''''''0''''''00''''''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960813" y="2039938"/>
            <a:ext cx="450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8A77DB0-146A-4591-B791-0CF3B213A3F1}" type="datetime'1'''''''''''''',''''''''0''''''''''''''''''''00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+1.4%)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484563" y="4479925"/>
            <a:ext cx="1404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382E22E-3D08-44B7-9F43-01E3D405F110}" type="datetime'F''''AW-''V''W'''''''' Fu''rth''''e''''r ''''C''''han''''''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AW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491163" y="2668588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-</a:t>
            </a:r>
            <a:fld id="{DFA21F8E-AA08-4AF5-B375-6F0D5CFE2CAA}" type="datetime'''''''''1'''''''',''''''''0''0''''0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n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-4.5%)</a:t>
            </a: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5008563" y="4479925"/>
            <a:ext cx="13890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6228FBF-91C0-4AFB-9842-4A3EBCCE5419}" type="datetime'''''SAI''C''''-VW'' Fu''rthe''r C''''h''''''''''''a''n''''ge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SAIC-VW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7046913" y="304165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84A5A28-2447-4471-B760-B723D55D062E}" type="datetime'''''1,''''0''''''0''0'''">
              <a:rPr lang="en-US" altLang="en-US" sz="1000" b="1" smtClean="0">
                <a:solidFill>
                  <a:srgbClr val="FFFFFF"/>
                </a:solidFill>
                <a:latin typeface="+mn-lt"/>
                <a:sym typeface="+mn-lt"/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661150" y="4479925"/>
            <a:ext cx="11176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528CD7F-1B1B-4B25-A247-2E93BBC15D5A}" type="datetime'F''''B''''''''''U'''' ''Furthe''''r'' C''h''''ang''''e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FBU Further Change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942975" y="1919288"/>
            <a:ext cx="417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E7F4DE67-0FDD-4200-8C82-096C313050AD}" type="datetime'''''''''''''1''0'''''''',''''''''''''00''0''''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n-lt"/>
            </a:endParaRPr>
          </a:p>
        </p:txBody>
      </p:sp>
      <p:sp>
        <p:nvSpPr>
          <p:cNvPr id="121" name="Oval 12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619625" y="1566863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8E8E2A1-CE8D-43D0-BD6C-BA66AC4436F7}" type="datetime'-''''''''''''''''''4'''''''''''''''''''',''''''''0''0''0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,000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/>
            </a:r>
            <a:b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(</a:t>
            </a:r>
            <a:fld id="{31EFE7C1-1DD9-499B-9706-297E28506D6B}" type="datetime'''''''-4''''''0''''''''''''.''''''''0''''''''''%''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0.0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n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n-lt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itle</a:t>
            </a: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2060131" y="3236913"/>
            <a:ext cx="1190625" cy="6556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MKT Effects  </a:t>
            </a:r>
            <a:r>
              <a:rPr kumimoji="0" lang="en-US" sz="8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2020-2030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TM: -13.6%</a:t>
            </a:r>
          </a:p>
          <a:p>
            <a:pPr marL="171450" marR="0" lvl="0" indent="-17145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Prem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 MKT: +0.6%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5930553"/>
              </p:ext>
            </p:extLst>
          </p:nvPr>
        </p:nvGraphicFramePr>
        <p:xfrm>
          <a:off x="392113" y="4992271"/>
          <a:ext cx="9104310" cy="13716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4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841674805"/>
                    </a:ext>
                  </a:extLst>
                </a:gridCol>
                <a:gridCol w="6844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VWAG TheSans"/>
                          <a:ea typeface="+mn-ea"/>
                          <a:cs typeface="+mn-cs"/>
                        </a:rPr>
                        <a:t>In ‘000 units</a:t>
                      </a: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Market Effect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182880"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FAW-VW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SAIC VW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latin typeface="+mj-lt"/>
                        </a:rPr>
                        <a:t>FBU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580616"/>
                  </a:ext>
                </a:extLst>
              </a:tr>
            </a:tbl>
          </a:graphicData>
        </a:graphic>
      </p:graphicFrame>
      <p:sp>
        <p:nvSpPr>
          <p:cNvPr id="4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63000" y="6548438"/>
            <a:ext cx="733425" cy="179387"/>
          </a:xfrm>
        </p:spPr>
        <p:txBody>
          <a:bodyPr/>
          <a:lstStyle/>
          <a:p>
            <a:fld id="{04ABC90F-D60A-4D10-BF9C-C7AC7A2BE08A}" type="slidenum">
              <a:rPr lang="de-DE" noProof="0" smtClean="0"/>
              <a:pPr/>
              <a:t>1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50147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188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49" name="think-cell Slide" r:id="rId28" imgW="470" imgH="469" progId="TCLayout.ActiveDocument.1">
                  <p:embed/>
                </p:oleObj>
              </mc:Choice>
              <mc:Fallback>
                <p:oleObj name="think-cell Slide" r:id="rId28" imgW="470" imgH="469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  <a:defRPr/>
            </a:pPr>
            <a:endParaRPr kumimoji="0" lang="en-US" sz="1000" b="1" u="none" strike="noStrike" kern="120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t>Group Market and Sales Steeri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 panose="020B0502050302020203" pitchFamily="34" charset="0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592263" y="212725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106738" y="2373313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>
            <a:off x="4619625" y="2619375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auto">
          <a:xfrm>
            <a:off x="6132513" y="2863850"/>
            <a:ext cx="6731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8"/>
            </p:custDataLst>
          </p:nvPr>
        </p:nvCxnSpPr>
        <p:spPr bwMode="auto">
          <a:xfrm>
            <a:off x="7646988" y="3109913"/>
            <a:ext cx="6715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41" name="Chart 40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46134278"/>
              </p:ext>
            </p:extLst>
          </p:nvPr>
        </p:nvGraphicFramePr>
        <p:xfrm>
          <a:off x="333375" y="2044700"/>
          <a:ext cx="9245600" cy="2622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8" name="Straight Connector 17"/>
          <p:cNvCxnSpPr/>
          <p:nvPr>
            <p:custDataLst>
              <p:tags r:id="rId10"/>
            </p:custDataLst>
          </p:nvPr>
        </p:nvCxnSpPr>
        <p:spPr bwMode="auto">
          <a:xfrm flipV="1">
            <a:off x="1171575" y="1785938"/>
            <a:ext cx="0" cy="76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11"/>
            </p:custDataLst>
          </p:nvPr>
        </p:nvCxnSpPr>
        <p:spPr bwMode="auto">
          <a:xfrm>
            <a:off x="1171575" y="1785938"/>
            <a:ext cx="75676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12"/>
            </p:custDataLst>
          </p:nvPr>
        </p:nvCxnSpPr>
        <p:spPr bwMode="auto">
          <a:xfrm>
            <a:off x="8739188" y="1785938"/>
            <a:ext cx="0" cy="10588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>
            <p:custDataLst>
              <p:tags r:id="rId13"/>
            </p:custDataLst>
          </p:nvPr>
        </p:nvCxnSpPr>
        <p:spPr bwMode="auto">
          <a:xfrm>
            <a:off x="5711825" y="2593975"/>
            <a:ext cx="0" cy="1016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tangle 25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474913" y="2081213"/>
            <a:ext cx="42386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44B71474-4F73-4749-AC88-4FB370EF8B54}" type="datetime'1'''',0''''''0''''''''''''''''''''0''''''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7.3%)</a:t>
            </a: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927100" y="4627563"/>
            <a:ext cx="4889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D6BEA06-2D5D-4D50-9EFE-F867C0A2E151}" type="datetime' ''''PR''69.''''SP''''''''&#10;O''''ffi''''''''c''ia''''''''l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SP
Official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5253038" y="4627563"/>
            <a:ext cx="917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36C47C6-6B74-4CCC-82E7-F295698E4834}" type="datetime'C''y''cl''''e'''' Pl''a''n E''''''f''''''''''fe''''''''ct''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ycle Plan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2171700" y="4627563"/>
            <a:ext cx="10287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B7E8E5-4D7B-479C-9142-72FA96B59B07}" type="datetime'''N''''E''''''''V Ma''r''''''ke''''t ''Ef''''''''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 panose="020B0502050302020203" pitchFamily="34" charset="0"/>
                <a:ea typeface="+mn-ea"/>
                <a:cs typeface="+mn-cs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NEV Marke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500688" y="2257425"/>
            <a:ext cx="4238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C3B2F038-8903-4FD4-81DE-BFA00B98004D}" type="datetime'''1'''',''0''''''''''''''0''''''''''''''''''''''''''''''''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0.3%)</a:t>
            </a: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3952875" y="2327275"/>
            <a:ext cx="493713" cy="336550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-</a:t>
            </a:r>
            <a:fld id="{0FBD1099-EE7D-4563-AF6F-6FBC7844479A}" type="datetime'''''''1'''''''''''''''''',0''''''''0''''''0'''''''''">
              <a:rPr lang="en-US" altLang="en-US" sz="1000" b="1" smtClean="0">
                <a:solidFill>
                  <a:srgbClr val="FFFFFF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-11.7%)</a:t>
            </a: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803650" y="4627563"/>
            <a:ext cx="7905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FFCFED-9FAB-4460-811A-EE0B7340B6A9}" type="datetime'''''Pr''''''od''''''''''uc''''''t'''''' ''E''f''fect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roduct Effect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7000875" y="2817813"/>
            <a:ext cx="450850" cy="336550"/>
          </a:xfrm>
          <a:prstGeom prst="rect">
            <a:avLst/>
          </a:prstGeom>
          <a:solidFill>
            <a:srgbClr val="79BD8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1E262A3-E3BE-4669-A014-60FF256E0192}" type="datetime'''1'''''''''''''''''''''''''''''''''',''''''''''''''''0''''00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,000</a:t>
            </a:fld>
            <a:endParaRPr kumimoji="0" lang="en-US" alt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+7.2%)</a:t>
            </a: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867525" y="4627563"/>
            <a:ext cx="7175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885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05EE76-03FD-4589-9195-81D4C6D8E8FC}" type="datetime'''''Pe''''''r''''f''''or''''m''''''''''''''an''''c''''''e'''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pPr marL="0" marR="0" lvl="0" indent="0" algn="ctr" defTabSz="9588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erformance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919163" y="1900238"/>
            <a:ext cx="5048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EAC6FF8-926B-446E-BB45-0E81EB3A3C67}" type="datetime'''1''''0,''''''''0''''''''''0''0''''''''''''''''''''''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10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482013" y="4627563"/>
            <a:ext cx="5159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2FECE73-7ACC-4ABE-A86E-40344858FCF3}" type="datetime' ''''P''''''''R''''''''6''''''''''''9''''.O''P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 PR69.OP</a:t>
            </a:fld>
            <a:endParaRPr kumimoji="0" lang="en-US" sz="10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529638" y="2882900"/>
            <a:ext cx="4206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F429206-5ABF-4D14-A33D-7E035F64311B}" type="datetime'''''6'''''',''''''0''''''0''''''''''''''''''''''''0'''">
              <a:rPr lang="en-US" altLang="en-US" sz="1200" b="1" smtClean="0">
                <a:solidFill>
                  <a:srgbClr val="000000"/>
                </a:solidFill>
              </a:rPr>
              <a:pPr lvl="0" algn="ctr">
                <a:spcAft>
                  <a:spcPct val="0"/>
                </a:spcAft>
                <a:defRPr/>
              </a:pPr>
              <a:t>6,000</a:t>
            </a:fld>
            <a:endParaRPr kumimoji="0" lang="en-US" sz="12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sym typeface="+mj-lt"/>
            </a:endParaRPr>
          </a:p>
        </p:txBody>
      </p:sp>
      <p:sp>
        <p:nvSpPr>
          <p:cNvPr id="34" name="Oval 3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4630738" y="1547813"/>
            <a:ext cx="649288" cy="476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1813905-F88D-40CB-9B41-A253B55BB05E}" type="datetime'''''-''''4'''''',''''''0''''''0''''0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,000</a:t>
            </a:fld>
            <a: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/>
            </a:r>
            <a:br>
              <a:rPr kumimoji="0" lang="en-US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</a:b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(</a:t>
            </a:r>
            <a:fld id="{A186E6B9-1EF7-4A7B-9C5C-7B14228F89D6}" type="datetime'''''''''''''-''''''''''4''''''0''.''0''''''''''%'''''''''">
              <a:rPr lang="en-US" altLang="en-US" sz="1000" b="1" smtClean="0">
                <a:solidFill>
                  <a:srgbClr val="C00000"/>
                </a:solidFill>
              </a:rPr>
              <a:pPr lvl="0" algn="ctr">
                <a:spcAft>
                  <a:spcPct val="0"/>
                </a:spcAft>
                <a:defRPr/>
              </a:pPr>
              <a:t>-40.0%</a:t>
            </a:fld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WAG TheSans"/>
                <a:ea typeface="+mn-ea"/>
                <a:cs typeface="+mn-cs"/>
                <a:sym typeface="+mj-lt"/>
              </a:rPr>
              <a:t>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WAG TheSans"/>
              <a:ea typeface="+mn-ea"/>
              <a:cs typeface="+mn-cs"/>
              <a:sym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00849" y="1525660"/>
            <a:ext cx="655984" cy="3016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Volume 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WAG TheSans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’000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WAG TheSans"/>
                <a:ea typeface="+mn-ea"/>
                <a:cs typeface="+mn-cs"/>
              </a:rPr>
              <a:t>units</a:t>
            </a:r>
          </a:p>
        </p:txBody>
      </p:sp>
      <p:graphicFrame>
        <p:nvGraphicFramePr>
          <p:cNvPr id="46" name="Tab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9274982"/>
              </p:ext>
            </p:extLst>
          </p:nvPr>
        </p:nvGraphicFramePr>
        <p:xfrm>
          <a:off x="385520" y="5030110"/>
          <a:ext cx="9104551" cy="131884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060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30940533"/>
                    </a:ext>
                  </a:extLst>
                </a:gridCol>
                <a:gridCol w="6498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382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VWAG TheSans"/>
                          <a:ea typeface="+mn-ea"/>
                          <a:cs typeface="+mn-cs"/>
                        </a:rPr>
                        <a:t>Vol. Change by Factors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827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Market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767784"/>
                  </a:ext>
                </a:extLst>
              </a:tr>
              <a:tr h="23827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roduct 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128379"/>
                  </a:ext>
                </a:extLst>
              </a:tr>
              <a:tr h="23827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Cycle</a:t>
                      </a:r>
                      <a:r>
                        <a:rPr lang="en-US" sz="900" b="1" u="none" strike="noStrike" baseline="0" dirty="0" smtClean="0">
                          <a:effectLst/>
                        </a:rPr>
                        <a:t> Plan Effec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776530"/>
                  </a:ext>
                </a:extLst>
              </a:tr>
              <a:tr h="23827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1" u="none" strike="noStrike" dirty="0" smtClean="0">
                          <a:effectLst/>
                        </a:rPr>
                        <a:t>Performan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144" marR="914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992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5465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406171" y="4553544"/>
          <a:ext cx="9100463" cy="1839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5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98010975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Chang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cc. Dev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VW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Audi</a:t>
                      </a:r>
                      <a:r>
                        <a:rPr lang="en-US" sz="900" b="1" baseline="0" dirty="0" smtClean="0">
                          <a:latin typeface="+mj-lt"/>
                        </a:rPr>
                        <a:t>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Skoda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 smtClean="0">
                          <a:latin typeface="+mj-lt"/>
                        </a:rPr>
                        <a:t>Jetta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913715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latin typeface="+mj-lt"/>
                        </a:rPr>
                        <a:t>JAC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1521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FBU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221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oup Tota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/>
          </p:nvPr>
        </p:nvGraphicFramePr>
        <p:xfrm>
          <a:off x="1306286" y="1965441"/>
          <a:ext cx="7456714" cy="2588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42648" y="3258284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</a:t>
            </a:r>
            <a:r>
              <a:rPr lang="en-US" sz="800" b="1" dirty="0">
                <a:solidFill>
                  <a:srgbClr val="000000"/>
                </a:solidFill>
                <a:latin typeface="VWAG TheSans"/>
              </a:rPr>
              <a:t>units</a:t>
            </a:r>
          </a:p>
        </p:txBody>
      </p:sp>
    </p:spTree>
    <p:extLst>
      <p:ext uri="{BB962C8B-B14F-4D97-AF65-F5344CB8AC3E}">
        <p14:creationId xmlns:p14="http://schemas.microsoft.com/office/powerpoint/2010/main" val="127275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9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de-DE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942899394"/>
              </p:ext>
            </p:extLst>
          </p:nvPr>
        </p:nvGraphicFramePr>
        <p:xfrm>
          <a:off x="1325461" y="2072080"/>
          <a:ext cx="7610418" cy="2899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en-US" noProof="0" smtClean="0"/>
              <a:t>Group Market and Sales Steering</a:t>
            </a:r>
            <a:endParaRPr lang="de-DE" noProof="0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608999"/>
              </p:ext>
            </p:extLst>
          </p:nvPr>
        </p:nvGraphicFramePr>
        <p:xfrm>
          <a:off x="376958" y="4786828"/>
          <a:ext cx="9325996" cy="1577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5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1279586574"/>
                    </a:ext>
                  </a:extLst>
                </a:gridCol>
                <a:gridCol w="702455">
                  <a:extLst>
                    <a:ext uri="{9D8B030D-6E8A-4147-A177-3AD203B41FA5}">
                      <a16:colId xmlns:a16="http://schemas.microsoft.com/office/drawing/2014/main" val="877556643"/>
                    </a:ext>
                  </a:extLst>
                </a:gridCol>
              </a:tblGrid>
              <a:tr h="38425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S% Change </a:t>
                      </a: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0E</a:t>
                      </a:r>
                      <a:endParaRPr lang="en-US" sz="9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 smtClean="0">
                          <a:effectLst/>
                        </a:rPr>
                        <a:t>Acc. Dev</a:t>
                      </a:r>
                      <a:endParaRPr lang="en-US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W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d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koda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AC-VW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BU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894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oup Tota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23586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3936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3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113" y="910481"/>
            <a:ext cx="9104312" cy="684213"/>
          </a:xfrm>
        </p:spPr>
        <p:txBody>
          <a:bodyPr/>
          <a:lstStyle/>
          <a:p>
            <a:r>
              <a:rPr lang="en-US" dirty="0" smtClean="0">
                <a:sym typeface="VWAG TheSans" panose="020B0502050302020203" pitchFamily="34" charset="0"/>
              </a:rPr>
              <a:t>Cycle Plan</a:t>
            </a:r>
            <a:endParaRPr lang="en-US" dirty="0">
              <a:sym typeface="VWAG TheSans" panose="020B0502050302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958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ABC90F-D60A-4D10-BF9C-C7AC7A2BE08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pPr marL="0" marR="0" lvl="0" indent="0" algn="r" defTabSz="9588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92113" y="1767959"/>
          <a:ext cx="9109275" cy="2912011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821855">
                  <a:extLst>
                    <a:ext uri="{9D8B030D-6E8A-4147-A177-3AD203B41FA5}">
                      <a16:colId xmlns:a16="http://schemas.microsoft.com/office/drawing/2014/main" val="806253177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3404441349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1855">
                  <a:extLst>
                    <a:ext uri="{9D8B030D-6E8A-4147-A177-3AD203B41FA5}">
                      <a16:colId xmlns:a16="http://schemas.microsoft.com/office/drawing/2014/main" val="365394444"/>
                    </a:ext>
                  </a:extLst>
                </a:gridCol>
              </a:tblGrid>
              <a:tr h="3516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Type of Chan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1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R2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WAG TheSans"/>
                        </a:defRPr>
                      </a:lvl9pPr>
                    </a:lstStyle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Remarks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New Project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1127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1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indent="0" algn="ctr" fontAlgn="ctr">
                        <a:spcBef>
                          <a:spcPts val="100"/>
                        </a:spcBef>
                      </a:pPr>
                      <a:r>
                        <a:rPr lang="en-US" sz="10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Jun-2025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04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Cancelled Products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2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52388" marR="0" lvl="0" indent="-52388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26F4E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SOP: Sep-2021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3768425"/>
                  </a:ext>
                </a:extLst>
              </a:tr>
              <a:tr h="32004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3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SOP: Sep-2023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algn="ctr" fontAlgn="ctr">
                        <a:spcBef>
                          <a:spcPts val="100"/>
                        </a:spcBef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6433533"/>
                  </a:ext>
                </a:extLst>
              </a:tr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Delay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1127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Model 4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rgbClr val="026F4E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pr-2024</a:t>
                      </a:r>
                      <a:endParaRPr lang="en-US" sz="1000" b="0" dirty="0" smtClean="0">
                        <a:solidFill>
                          <a:srgbClr val="026F4E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indent="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rgbClr val="026F4E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Mar-2026</a:t>
                      </a:r>
                      <a:endParaRPr lang="en-US" sz="1000" b="0" i="0" u="none" strike="noStrike" dirty="0">
                        <a:solidFill>
                          <a:srgbClr val="026F4E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16120408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 </a:t>
                      </a: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Pull Ahead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5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Apr-2024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indent="0" algn="ctr" fontAlgn="ctr">
                        <a:spcBef>
                          <a:spcPts val="100"/>
                        </a:spcBef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SOP: Mar-202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26F4E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5691570"/>
                  </a:ext>
                </a:extLst>
              </a:tr>
              <a:tr h="32004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 Pull Ahead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6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n-2024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1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8820676"/>
                  </a:ext>
                </a:extLst>
              </a:tr>
              <a:tr h="320040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7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l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0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37823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 </a:t>
                      </a:r>
                      <a:r>
                        <a:rPr kumimoji="0" lang="en-US" sz="10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Delay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 panose="020B0502050302020203" pitchFamily="34" charset="0"/>
                          <a:ea typeface="+mn-ea"/>
                          <a:cs typeface="+mn-cs"/>
                          <a:sym typeface="VWAG TheSans" panose="020B0502050302020203" pitchFamily="34" charset="0"/>
                        </a:rPr>
                        <a:t>Model 8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Jul-2022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EOP: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VWAG TheSans" panose="020B0502050302020203" pitchFamily="34" charset="0"/>
                          <a:sym typeface="VWAG TheSans" panose="020B0502050302020203" pitchFamily="34" charset="0"/>
                        </a:rPr>
                        <a:t> Dec-2023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VWAG TheSans" panose="020B0502050302020203" pitchFamily="34" charset="0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WAG TheSans" panose="020B0502050302020203" pitchFamily="34" charset="0"/>
                        <a:ea typeface="+mn-ea"/>
                        <a:cs typeface="+mn-cs"/>
                        <a:sym typeface="VWAG TheSans" panose="020B0502050302020203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B0C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4543142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08798" y="6237312"/>
            <a:ext cx="4870867" cy="12442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800" dirty="0" smtClean="0">
                <a:latin typeface="+mj-lt"/>
              </a:rPr>
              <a:t>Remark: Green front refers to NEV products</a:t>
            </a:r>
            <a:endParaRPr lang="en-US" sz="800" dirty="0">
              <a:latin typeface="+mj-lt"/>
            </a:endParaRPr>
          </a:p>
        </p:txBody>
      </p:sp>
      <p:sp>
        <p:nvSpPr>
          <p:cNvPr id="10" name="Up Arrow 9"/>
          <p:cNvSpPr/>
          <p:nvPr/>
        </p:nvSpPr>
        <p:spPr bwMode="auto">
          <a:xfrm>
            <a:off x="1844702" y="2152094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Up Arrow 10"/>
          <p:cNvSpPr/>
          <p:nvPr/>
        </p:nvSpPr>
        <p:spPr bwMode="auto">
          <a:xfrm flipV="1">
            <a:off x="1844702" y="2667605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2" name="Up Arrow 11"/>
          <p:cNvSpPr/>
          <p:nvPr/>
        </p:nvSpPr>
        <p:spPr bwMode="auto">
          <a:xfrm flipV="1">
            <a:off x="1844702" y="3169862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4" name="Up Arrow 13"/>
          <p:cNvSpPr/>
          <p:nvPr/>
        </p:nvSpPr>
        <p:spPr bwMode="auto">
          <a:xfrm flipV="1">
            <a:off x="1844702" y="3978067"/>
            <a:ext cx="173604" cy="171013"/>
          </a:xfrm>
          <a:prstGeom prst="up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3" name="Up Arrow 12"/>
          <p:cNvSpPr/>
          <p:nvPr/>
        </p:nvSpPr>
        <p:spPr bwMode="auto">
          <a:xfrm>
            <a:off x="1844702" y="3501008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Up Arrow 14"/>
          <p:cNvSpPr/>
          <p:nvPr/>
        </p:nvSpPr>
        <p:spPr bwMode="auto">
          <a:xfrm>
            <a:off x="1844702" y="4437112"/>
            <a:ext cx="174929" cy="172276"/>
          </a:xfrm>
          <a:prstGeom prst="upArrow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552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171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altLang="zh-CN" sz="2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宋体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68" name="Chart 67"/>
          <p:cNvGraphicFramePr/>
          <p:nvPr>
            <p:extLst/>
          </p:nvPr>
        </p:nvGraphicFramePr>
        <p:xfrm>
          <a:off x="359728" y="2512720"/>
          <a:ext cx="8761970" cy="3364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1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ea typeface="宋体" pitchFamily="2" charset="-122"/>
              </a:rPr>
              <a:t>Title</a:t>
            </a:r>
            <a:endParaRPr lang="en-US" altLang="zh-CN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04528" y="2021659"/>
            <a:ext cx="64472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 smtClean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 smtClean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8769424" y="4619311"/>
            <a:ext cx="85503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 smtClean="0">
                <a:solidFill>
                  <a:srgbClr val="003366"/>
                </a:solidFill>
                <a:latin typeface="+mj-lt"/>
              </a:rPr>
              <a:t>PR1</a:t>
            </a:r>
            <a:endParaRPr lang="en-US" altLang="zh-CN" sz="1000" b="1" dirty="0">
              <a:solidFill>
                <a:srgbClr val="003366"/>
              </a:solidFill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769424" y="4365104"/>
            <a:ext cx="8594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R2</a:t>
            </a:r>
            <a:endParaRPr lang="en-US" altLang="zh-CN" sz="10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344488" y="5537552"/>
          <a:ext cx="8627592" cy="591405"/>
        </p:xfrm>
        <a:graphic>
          <a:graphicData uri="http://schemas.openxmlformats.org/drawingml/2006/table">
            <a:tbl>
              <a:tblPr firstRow="1" bandRow="1"/>
              <a:tblGrid>
                <a:gridCol w="981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76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79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63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903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76417686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lta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PR2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Vs PR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VWAG TheSans" panose="020B0502050302020203" pitchFamily="34" charset="0"/>
                        </a:rPr>
                        <a:t>-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06801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1 GR</a:t>
                      </a: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0.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36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22.9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8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4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8.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6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4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2 GR</a:t>
                      </a: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0.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36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32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1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0.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8.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6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4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3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1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.5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384658" y="6165304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</a:t>
            </a:r>
            <a:r>
              <a:rPr lang="fr-FR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1 and PR2</a:t>
            </a:r>
            <a:endParaRPr lang="fr-FR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24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518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605" name="think-cell Slide" r:id="rId100" imgW="470" imgH="469" progId="TCLayout.ActiveDocument.1">
                  <p:embed/>
                </p:oleObj>
              </mc:Choice>
              <mc:Fallback>
                <p:oleObj name="think-cell Slide" r:id="rId100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/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itle</a:t>
            </a:r>
            <a:r>
              <a:rPr lang="en-US" altLang="zh-CN" dirty="0"/>
              <a:t/>
            </a:r>
            <a:br>
              <a:rPr lang="en-US" altLang="zh-CN" dirty="0"/>
            </a:br>
            <a:endParaRPr lang="en-US" dirty="0"/>
          </a:p>
        </p:txBody>
      </p:sp>
      <p:graphicFrame>
        <p:nvGraphicFramePr>
          <p:cNvPr id="129" name="Chart 128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01227646"/>
              </p:ext>
            </p:extLst>
          </p:nvPr>
        </p:nvGraphicFramePr>
        <p:xfrm>
          <a:off x="1000125" y="2466975"/>
          <a:ext cx="7851775" cy="3349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auto">
          <a:xfrm>
            <a:off x="3209925" y="4475163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6"/>
            </p:custDataLst>
          </p:nvPr>
        </p:nvCxnSpPr>
        <p:spPr bwMode="auto">
          <a:xfrm flipV="1">
            <a:off x="3209925" y="44751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3438525" y="4475163"/>
            <a:ext cx="0" cy="7937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 bwMode="auto">
          <a:xfrm flipV="1">
            <a:off x="3849688" y="4364038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>
            <p:custDataLst>
              <p:tags r:id="rId9"/>
            </p:custDataLst>
          </p:nvPr>
        </p:nvCxnSpPr>
        <p:spPr bwMode="auto">
          <a:xfrm>
            <a:off x="4079875" y="4364038"/>
            <a:ext cx="0" cy="8366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/>
          <p:cNvCxnSpPr/>
          <p:nvPr>
            <p:custDataLst>
              <p:tags r:id="rId10"/>
            </p:custDataLst>
          </p:nvPr>
        </p:nvCxnSpPr>
        <p:spPr bwMode="auto">
          <a:xfrm>
            <a:off x="3849688" y="4364038"/>
            <a:ext cx="2301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>
            <p:custDataLst>
              <p:tags r:id="rId11"/>
            </p:custDataLst>
          </p:nvPr>
        </p:nvCxnSpPr>
        <p:spPr bwMode="auto">
          <a:xfrm>
            <a:off x="4719638" y="4262438"/>
            <a:ext cx="0" cy="9588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Straight Connector 54"/>
          <p:cNvCxnSpPr/>
          <p:nvPr>
            <p:custDataLst>
              <p:tags r:id="rId12"/>
            </p:custDataLst>
          </p:nvPr>
        </p:nvCxnSpPr>
        <p:spPr bwMode="auto">
          <a:xfrm>
            <a:off x="4491038" y="4262438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Straight Connector 52"/>
          <p:cNvCxnSpPr/>
          <p:nvPr>
            <p:custDataLst>
              <p:tags r:id="rId13"/>
            </p:custDataLst>
          </p:nvPr>
        </p:nvCxnSpPr>
        <p:spPr bwMode="auto">
          <a:xfrm flipV="1">
            <a:off x="4491038" y="4262438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1" name="Straight Connector 200"/>
          <p:cNvCxnSpPr/>
          <p:nvPr>
            <p:custDataLst>
              <p:tags r:id="rId14"/>
            </p:custDataLst>
          </p:nvPr>
        </p:nvCxnSpPr>
        <p:spPr bwMode="auto">
          <a:xfrm>
            <a:off x="5360988" y="4090989"/>
            <a:ext cx="0" cy="10144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8" name="Straight Connector 197"/>
          <p:cNvCxnSpPr/>
          <p:nvPr>
            <p:custDataLst>
              <p:tags r:id="rId15"/>
            </p:custDataLst>
          </p:nvPr>
        </p:nvCxnSpPr>
        <p:spPr bwMode="auto">
          <a:xfrm>
            <a:off x="5130800" y="4090988"/>
            <a:ext cx="2301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Straight Connector 64"/>
          <p:cNvCxnSpPr/>
          <p:nvPr>
            <p:custDataLst>
              <p:tags r:id="rId16"/>
            </p:custDataLst>
          </p:nvPr>
        </p:nvCxnSpPr>
        <p:spPr bwMode="auto">
          <a:xfrm flipV="1">
            <a:off x="5130800" y="4090988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3" name="Straight Connector 202"/>
          <p:cNvCxnSpPr/>
          <p:nvPr>
            <p:custDataLst>
              <p:tags r:id="rId17"/>
            </p:custDataLst>
          </p:nvPr>
        </p:nvCxnSpPr>
        <p:spPr bwMode="auto">
          <a:xfrm>
            <a:off x="5772150" y="4030663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2" name="Straight Connector 201"/>
          <p:cNvCxnSpPr/>
          <p:nvPr>
            <p:custDataLst>
              <p:tags r:id="rId18"/>
            </p:custDataLst>
          </p:nvPr>
        </p:nvCxnSpPr>
        <p:spPr bwMode="auto">
          <a:xfrm flipV="1">
            <a:off x="5772150" y="40306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8" name="Straight Connector 207"/>
          <p:cNvCxnSpPr/>
          <p:nvPr>
            <p:custDataLst>
              <p:tags r:id="rId19"/>
            </p:custDataLst>
          </p:nvPr>
        </p:nvCxnSpPr>
        <p:spPr bwMode="auto">
          <a:xfrm>
            <a:off x="6000750" y="4030663"/>
            <a:ext cx="0" cy="9810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3" name="Straight Connector 212"/>
          <p:cNvCxnSpPr/>
          <p:nvPr>
            <p:custDataLst>
              <p:tags r:id="rId20"/>
            </p:custDataLst>
          </p:nvPr>
        </p:nvCxnSpPr>
        <p:spPr bwMode="auto">
          <a:xfrm>
            <a:off x="6642100" y="4119563"/>
            <a:ext cx="0" cy="815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0" name="Straight Connector 209"/>
          <p:cNvCxnSpPr/>
          <p:nvPr>
            <p:custDataLst>
              <p:tags r:id="rId21"/>
            </p:custDataLst>
          </p:nvPr>
        </p:nvCxnSpPr>
        <p:spPr bwMode="auto">
          <a:xfrm>
            <a:off x="6411913" y="4119563"/>
            <a:ext cx="2301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9" name="Straight Connector 208"/>
          <p:cNvCxnSpPr/>
          <p:nvPr>
            <p:custDataLst>
              <p:tags r:id="rId22"/>
            </p:custDataLst>
          </p:nvPr>
        </p:nvCxnSpPr>
        <p:spPr bwMode="auto">
          <a:xfrm flipV="1">
            <a:off x="6411913" y="41195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4" name="Straight Connector 213"/>
          <p:cNvCxnSpPr/>
          <p:nvPr>
            <p:custDataLst>
              <p:tags r:id="rId23"/>
            </p:custDataLst>
          </p:nvPr>
        </p:nvCxnSpPr>
        <p:spPr bwMode="auto">
          <a:xfrm flipV="1">
            <a:off x="7053263" y="41195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6" name="Straight Connector 215"/>
          <p:cNvCxnSpPr/>
          <p:nvPr>
            <p:custDataLst>
              <p:tags r:id="rId24"/>
            </p:custDataLst>
          </p:nvPr>
        </p:nvCxnSpPr>
        <p:spPr bwMode="auto">
          <a:xfrm>
            <a:off x="7281863" y="4119563"/>
            <a:ext cx="0" cy="815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5" name="Straight Connector 214"/>
          <p:cNvCxnSpPr/>
          <p:nvPr>
            <p:custDataLst>
              <p:tags r:id="rId25"/>
            </p:custDataLst>
          </p:nvPr>
        </p:nvCxnSpPr>
        <p:spPr bwMode="auto">
          <a:xfrm>
            <a:off x="7053263" y="4119563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7" name="Straight Connector 216"/>
          <p:cNvCxnSpPr/>
          <p:nvPr>
            <p:custDataLst>
              <p:tags r:id="rId26"/>
            </p:custDataLst>
          </p:nvPr>
        </p:nvCxnSpPr>
        <p:spPr bwMode="auto">
          <a:xfrm flipV="1">
            <a:off x="7693025" y="41195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1" name="Straight Connector 220"/>
          <p:cNvCxnSpPr/>
          <p:nvPr>
            <p:custDataLst>
              <p:tags r:id="rId27"/>
            </p:custDataLst>
          </p:nvPr>
        </p:nvCxnSpPr>
        <p:spPr bwMode="auto">
          <a:xfrm>
            <a:off x="7923213" y="4119563"/>
            <a:ext cx="0" cy="815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8" name="Straight Connector 217"/>
          <p:cNvCxnSpPr/>
          <p:nvPr>
            <p:custDataLst>
              <p:tags r:id="rId28"/>
            </p:custDataLst>
          </p:nvPr>
        </p:nvCxnSpPr>
        <p:spPr bwMode="auto">
          <a:xfrm>
            <a:off x="7693025" y="4119563"/>
            <a:ext cx="23018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3" name="Straight Connector 222"/>
          <p:cNvCxnSpPr/>
          <p:nvPr>
            <p:custDataLst>
              <p:tags r:id="rId29"/>
            </p:custDataLst>
          </p:nvPr>
        </p:nvCxnSpPr>
        <p:spPr bwMode="auto">
          <a:xfrm>
            <a:off x="8334375" y="4119563"/>
            <a:ext cx="228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6" name="Straight Connector 225"/>
          <p:cNvCxnSpPr/>
          <p:nvPr>
            <p:custDataLst>
              <p:tags r:id="rId30"/>
            </p:custDataLst>
          </p:nvPr>
        </p:nvCxnSpPr>
        <p:spPr bwMode="auto">
          <a:xfrm>
            <a:off x="8562975" y="4119563"/>
            <a:ext cx="0" cy="815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2" name="Straight Connector 221"/>
          <p:cNvCxnSpPr/>
          <p:nvPr>
            <p:custDataLst>
              <p:tags r:id="rId31"/>
            </p:custDataLst>
          </p:nvPr>
        </p:nvCxnSpPr>
        <p:spPr bwMode="auto">
          <a:xfrm flipV="1">
            <a:off x="8334375" y="4119563"/>
            <a:ext cx="0" cy="195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5" name="Rectangle 154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627938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344CB49-F4E1-49AD-9F93-7F1BCC8F6357}" type="datetime'''''''''20''''''''''2''''''''''''''''''''''''''''''''9''E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9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8" name="Rectangle 127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1863725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02ADA16-7070-42DF-8410-8DFA1C1B79DA}" type="datetime'''''''''20''''''''''2''''''''''''''''''''''''0E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0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9" name="Rectangle 158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7178675" y="49736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BACA00B-3F37-42C3-8EE4-205CD4AD9C2F}" type="datetime'''''''''''''''8''''''''''.''''''''''9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8.9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7" name="Rectangle 256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1255713" y="5776913"/>
            <a:ext cx="2921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8BB2528-2591-41BD-A97B-5AED605A480D}" type="datetime'''''''2''''''0''''''''''1''''9''''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19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2" name="Rectangle 111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2497138" y="3087688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962447C-E5D1-436C-8498-0B1B86886ED9}" type="datetime'''''1''''4''.''''''''3''''''''''''''''''''%'''''">
              <a:rPr lang="en-US" altLang="en-US" sz="1000" b="1" smtClean="0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4.3%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4003675" y="273526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2988FDF6-6DB0-4BD9-A2AA-367F57B0578E}" type="datetime'''''''2''9''''''''''.''''''4''%'''''''''''''''''''''">
              <a:rPr lang="en-US" altLang="en-US" sz="1000" b="1" smtClean="0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29.4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2503488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DC14A8A-01E0-4D0F-AB28-4DDB0CEF7268}" type="datetime'''''''''''''''''''''2''''''''0''''''''''''2''''1''''E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1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4" name="Rectangle 16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7656513" y="33909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EE99A77-71AD-47D5-838C-0191ABD44D9E}" type="datetime'''''''''''0''''''''.''''0''''''''%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568700" y="303371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D92D4B17-D53A-4416-9390-948FF3C18CFB}" type="datetime'''''''''''''''1''''''''3''.4''''''''%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13.4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3144838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1B1509-C37A-43DC-9475-CAE8BD52785B}" type="datetime'''2''02''''''''''''''''''''''''''''''''''''''''''''''''2''E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2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60" name="Rectangle 159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7015163" y="3390900"/>
            <a:ext cx="30480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F2A50A2-7842-4593-AAF2-B10053F055B8}" type="datetime'''0''.''''''0''''''%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3784600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C9F49C7-727A-4A22-82F5-99B7CAC56DF9}" type="datetime'''2''0''''''''''''2''''''''''''''''''''''''''''''''3''''E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3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4418013" y="316230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4139909-4946-4924-BEE5-DC35E94BAAC6}" type="datetime'''''''''''''''1''''''''''''''''''0''''''''.''''8''%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0.8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734050" y="32861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6758881-9D22-41B3-AC6A-B1FD738C4202}" type="datetime'''''''''''''4''''''''.''''''''''''''''''''''9''''''%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4.9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56" name="Rectangle 55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4343400" y="3422650"/>
            <a:ext cx="347663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13EAC848-873E-4698-ACC4-998A28752D47}" type="datetime'''''-''''''''''''''''''''''''''''6''''''''.8''''''%''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-6.8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5065713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9BA202A-68EC-4980-9761-B4A5E21CDC9F}" type="datetime'''''''''20''2''''''''''''''5''E''''''''''''''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5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0" name="Rectangle 119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4425950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5BADAE8-D101-4796-9E5D-796F30B76620}" type="datetime'''''''''''''''2''''''''''''0''''''''24''''''''''''E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4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2" name="Rectangle 161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554913" y="43529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8CFA84E-9DE0-4A5A-B7BD-677B463A06A7}" type="datetime'1''''''''''''''''''''''''''''''''''''''''''8.''6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8.6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6" name="Rectangle 155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8269288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15F5D84-EC2D-4989-96C0-5B4ED7494B5A}" type="datetime'''''2''''''0''''''''30''''''''''''E''''''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30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6" name="Rectangle 165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8196263" y="43529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17B9835-8B83-42A2-BE72-C337EBE111C6}" type="datetime'''''18''.''''''''6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8.6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8" name="Rectangle 167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8296275" y="33909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283C0F28-FFB8-49D2-A8FD-FF452468F747}" type="datetime'''''''0''''.''''''0''''''''''''''%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5" name="Rectangle 164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7656513" y="33909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2BCAFE0-F620-4BE9-BC08-1D1F6A37EF3D}" type="datetime'''0''''''''''''''.''''''''''''''''0''''''''%''''''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6340475" y="3057525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73B66DF-DF24-4902-8D49-1987878049BD}" type="datetime'''''''''''1''''5''''.''''''''''''''''''6''''''%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5.6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161" name="Rectangle 160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7015163" y="3390900"/>
            <a:ext cx="30480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7E721F99-0535-4A89-AC97-CED01FE2DB6E}" type="datetime'''''''''''''''''''''''0''''''.''''''''''''''''''''''0%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7" name="Rectangle 166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8459788" y="49736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49161848-83C8-4DEA-8332-9C7C21603122}" type="datetime'''''''''8''.''''''''''''9''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8.9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4" name="Rectangle 153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6988175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CDB6D44-564B-4492-8685-31F93CCE5DDA}" type="datetime'''''''''''''2''''''''''''''''''''0''''''''2''''''8E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8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3" name="Rectangle 122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6346825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78B6339-FD37-4E0C-804E-E321CFC34963}" type="datetime'''''''''''2''0''''''''''''''''''''''27''''''''''''E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7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4992688" y="4324350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B8C1ED9-6A66-4F6D-8774-7318236230ED}" type="datetime'''''''1''''''9''''.''''''''''''1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9.1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8296275" y="339090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D9DA3A6-F6D3-4589-9264-73154AE906CB}" type="datetime'''0''''.''''''''0''''%''''''''''''''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0%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5059363" y="304006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7CE040A-8E43-4168-9826-7CB5E1D2FDAE}" type="datetime'''1''''''''''''''''''6.''''''''''''''''''''5''''%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6.5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6354763" y="3538538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A22DA88-B0FA-4032-84AE-8C50FB795DD0}" type="datetime'-''''''''''''''''7''''''''''''.''''''0''''''''''''''%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-7.0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2" name="Rectangle 121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5707063" y="5776913"/>
            <a:ext cx="3603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4CB036B-3422-4805-9B19-877D5ADC97F5}" type="datetime'''''''2''''''''''''''''''''02''6''''E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2026E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3" name="Rectangle 162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7820025" y="49736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8EDFA19E-B5DB-4932-B555-16C85CA043E1}" type="datetime'''''''8''.''''''''9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8.9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5757863" y="2767013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BF5DCF30-8F27-4FFC-A7B7-0298C306598A}" type="datetime'''''23''''''''''''.''''''''''''''7''%''''''''''''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23.7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5059363" y="2516188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A57D0BB-A4A7-4396-A5B4-E5956A3C5804}" type="datetime'''''''''''''''''''''''''41''''.''''''''2''''''''''%'">
              <a:rPr lang="en-US" altLang="en-US" sz="1000" b="1" smtClean="0">
                <a:solidFill>
                  <a:srgbClr val="FFFFFF">
                    <a:lumMod val="50000"/>
                  </a:srgbClr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41.2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6273800" y="43529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984D913-ED89-4C81-AF2E-AEFCC7C833F6}" type="datetime'1''''''8.''''''''''''''''''''''''''''6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8.6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1790700" y="4819650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3A14D4B3-EFCA-4C0F-9545-4490E893C277}" type="datetime'''1''''''1''''''''''''''''''''.''''''''''''''3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1.3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1" name="Rectangle 110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2430463" y="4716463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D1EA7E3-A93A-4B84-B835-F62838108F22}" type="datetime'''''''''''''''''''''''''''''1''''''''2.9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2.9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3071813" y="47085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A631C8C-6A67-412C-B883-820A06F937C6}" type="datetime'''''''''''''13''''''.''''''''''''''''''''0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3.0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3335338" y="5307013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B6F244A5-959B-4110-A904-9A1EEAC7495A}" type="datetime'''''''''''''''''''3''''''''''''''''''''.7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3.7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3711575" y="4597400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9DF723F-DB88-48C1-BC09-4D577016377B}" type="datetime'''''14''''''''''''''''''.''''8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4.8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3976688" y="5238750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C5A538FC-1F2C-481A-98B7-7901263368B3}" type="datetime'''''''''''4''''''''.''''''''''''''''''''''7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4.7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4352925" y="4495800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6BBB8BD5-FEA4-42BE-BC56-8ED2A5E59E6F}" type="datetime'1''''''''''6''''''.''4''''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6.4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gray">
          <a:xfrm>
            <a:off x="4616450" y="525938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928D3F92-4CFE-4E8D-A5AE-CBA625279789}" type="datetime'''''''''''''''4''''.''''''''''''''''''''''''''''''''''''4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4.4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3171825" y="3371850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F07D305D-BD33-4731-9E64-9E48C90599B7}" type="datetime'''''''''''0''''''''''''.''''9''''''''''''''''''''''%'''">
              <a:rPr lang="en-US" altLang="en-US" sz="1000" b="1" smtClean="0">
                <a:solidFill>
                  <a:srgbClr val="C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0.9%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5257800" y="5143500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10480074-FBEE-4D33-BFA9-4AF46AAD8B01}" type="datetime'''''''''6''''''.''''''''''''''''''2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6.2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gray">
          <a:xfrm>
            <a:off x="5634038" y="42640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0CE99B3B-AF2F-4816-8BAC-F0585FDB7868}" type="datetime'''''''''''2''''''''''''''''0''''.''''''0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20.0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gray">
          <a:xfrm>
            <a:off x="5897563" y="50498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A6DEA91C-EEAD-4B9E-92B9-0CC54D5CE77F}" type="datetime'''''''7''''''''''''.''''''''''''''''''''7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7.7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6538913" y="4973638"/>
            <a:ext cx="2079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536F13B9-9D07-4CC1-9D2C-26BB98852B7C}" type="datetime'''''''''''8''.''9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8.9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gray">
          <a:xfrm>
            <a:off x="6915150" y="4352925"/>
            <a:ext cx="277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 algn="ctr">
              <a:spcAft>
                <a:spcPct val="0"/>
              </a:spcAft>
              <a:defRPr/>
            </a:pPr>
            <a:fld id="{DE62E27B-37B8-4804-A951-0B8E2E1FDC70}" type="datetime'''''''''18''''''''''.''''''''''''''''''''''''6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 algn="ctr">
                <a:spcAft>
                  <a:spcPct val="0"/>
                </a:spcAft>
                <a:defRPr/>
              </a:pPr>
              <a:t>18.6</a:t>
            </a:fld>
            <a:endParaRPr kumimoji="0" lang="en-US" sz="1000" b="1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9" name="Oval 178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3054350" y="43561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7B92B3F-5F6C-4290-B7FE-DC58F0880AE5}" type="datetime'''-''7''''''''''2''''''''''.''''''''''0''%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72.0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2" name="Oval 181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3694113" y="4244975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5A38C61-C51C-4A00-B011-A214505447FE}" type="datetime'''''''''''''-''''''6''8.''''''''''1''''%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68.1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5" name="Oval 184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4335463" y="4143375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F479952-C17A-4974-BDE9-4B90580398C6}" type="datetime'''''''''''''''-''73.''''''''''''''1%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73.1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7" name="Oval 186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auto">
          <a:xfrm>
            <a:off x="4975225" y="3971925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B12B8B5-B473-4AD4-9FF8-7C115CFF752E}" type="datetime'''''''''''-''6''''''''7''''''''''''''''.''4''''%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67.4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9" name="Oval 188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auto">
          <a:xfrm>
            <a:off x="5616575" y="39116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1326D8E-D61E-459B-B414-64B64032D0EE}" type="datetime'''''''''''''''''''''-''''''6''''''''''''''''''1''.6%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61.6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1" name="Oval 190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auto">
          <a:xfrm>
            <a:off x="6256338" y="40005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44F2D8F-5740-405E-B5D5-55C411DE9590}" type="datetime'''-''''''''''''''''5''''2''.''''''2%''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52.2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3" name="Oval 192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auto">
          <a:xfrm>
            <a:off x="6897688" y="40005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4B4C972-16B4-4A0C-BE8D-C9206A33EEFC}" type="datetime'''''''''''''''''''''''''''''''-''''''52.2''''''''''''%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52.2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5" name="Oval 194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auto">
          <a:xfrm>
            <a:off x="7537450" y="40005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79457E6-0A0E-42ED-960A-63D52E0191DB}" type="datetime'-''''''''''''5''2.''''''''''''''''''''2''''''%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52.2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7" name="Oval 196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auto">
          <a:xfrm>
            <a:off x="8178800" y="4000500"/>
            <a:ext cx="541338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5A1AFA4-D672-460E-B358-D112902B3488}" type="datetime'''''''''-''''''''''52''''''''.2''''''%'''''''''''''''''">
              <a:rPr lang="en-US" altLang="en-US" sz="1000" b="1" smtClean="0">
                <a:latin typeface="+mj-lt"/>
                <a:ea typeface="+mj-ea"/>
                <a:cs typeface="+mj-cs"/>
                <a:sym typeface="+mj-lt"/>
              </a:rPr>
              <a:pPr algn="ctr">
                <a:spcAft>
                  <a:spcPct val="0"/>
                </a:spcAft>
              </a:pPr>
              <a:t>-52.2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4" name="Rectangle 83"/>
          <p:cNvSpPr/>
          <p:nvPr>
            <p:custDataLst>
              <p:tags r:id="rId91"/>
            </p:custDataLst>
          </p:nvPr>
        </p:nvSpPr>
        <p:spPr bwMode="auto">
          <a:xfrm>
            <a:off x="539750" y="3233738"/>
            <a:ext cx="179388" cy="133350"/>
          </a:xfrm>
          <a:prstGeom prst="rect">
            <a:avLst/>
          </a:prstGeom>
          <a:solidFill>
            <a:srgbClr val="A8ADB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85" name="Straight Connector 84"/>
          <p:cNvCxnSpPr/>
          <p:nvPr>
            <p:custDataLst>
              <p:tags r:id="rId92"/>
            </p:custDataLst>
          </p:nvPr>
        </p:nvCxnSpPr>
        <p:spPr bwMode="gray">
          <a:xfrm>
            <a:off x="561975" y="3957638"/>
            <a:ext cx="13335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46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Straight Connector 82"/>
          <p:cNvCxnSpPr/>
          <p:nvPr>
            <p:custDataLst>
              <p:tags r:id="rId93"/>
            </p:custDataLst>
          </p:nvPr>
        </p:nvCxnSpPr>
        <p:spPr bwMode="gray">
          <a:xfrm>
            <a:off x="561975" y="3738563"/>
            <a:ext cx="13335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A8ADB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2" name="Rectangle 81"/>
          <p:cNvSpPr/>
          <p:nvPr>
            <p:custDataLst>
              <p:tags r:id="rId94"/>
            </p:custDataLst>
          </p:nvPr>
        </p:nvSpPr>
        <p:spPr bwMode="auto">
          <a:xfrm>
            <a:off x="539750" y="3452813"/>
            <a:ext cx="179388" cy="133350"/>
          </a:xfrm>
          <a:prstGeom prst="rect">
            <a:avLst/>
          </a:prstGeom>
          <a:solidFill>
            <a:srgbClr val="0046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7" name="Rectangle 86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769938" y="3228975"/>
            <a:ext cx="2127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5F8F28E6-98F0-44FA-B260-EE3DFB30BEA7}" type="datetime'''''''''''''''''''P''R1''''''''''''''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PR1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" name="Rectangle 87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769938" y="3448050"/>
            <a:ext cx="2127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B7DBF554-72F3-4944-8C33-FAAB1127B52D}" type="datetime'P''''''''''R''''''''''''''''''''''2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PR2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769938" y="3667125"/>
            <a:ext cx="2286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F5446B93-2582-4D28-A101-1B93759AD0C8}" type="datetime'''''''''''''''G''''''''R''''''''''''''''''''''''1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GR1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" name="Rectangle 88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auto">
          <a:xfrm>
            <a:off x="769938" y="3886200"/>
            <a:ext cx="2286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spcAft>
                <a:spcPct val="0"/>
              </a:spcAft>
              <a:defRPr/>
            </a:pPr>
            <a:fld id="{CF2A244B-C406-4A2A-BF64-1FC2FC5A43C4}" type="datetime'''''''''G''''''R''''2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lvl="0">
                <a:spcAft>
                  <a:spcPct val="0"/>
                </a:spcAft>
                <a:defRPr/>
              </a:pPr>
              <a:t>GR2</a:t>
            </a:fld>
            <a:endParaRPr kumimoji="0" lang="en-US" sz="1000" b="1" i="0" strike="noStrike" kern="1200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15924" y="2693988"/>
            <a:ext cx="673100" cy="4778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 smtClean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 smtClean="0">
                <a:solidFill>
                  <a:srgbClr val="000000"/>
                </a:solidFill>
                <a:latin typeface="+mj-lt"/>
              </a:rPr>
              <a:t> (In Mio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  <p:graphicFrame>
        <p:nvGraphicFramePr>
          <p:cNvPr id="261" name="Table 2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8388052"/>
              </p:ext>
            </p:extLst>
          </p:nvPr>
        </p:nvGraphicFramePr>
        <p:xfrm>
          <a:off x="416496" y="6152565"/>
          <a:ext cx="8568953" cy="197135"/>
        </p:xfrm>
        <a:graphic>
          <a:graphicData uri="http://schemas.openxmlformats.org/drawingml/2006/table">
            <a:tbl>
              <a:tblPr firstRow="1" bandRow="1"/>
              <a:tblGrid>
                <a:gridCol w="1111335">
                  <a:extLst>
                    <a:ext uri="{9D8B030D-6E8A-4147-A177-3AD203B41FA5}">
                      <a16:colId xmlns:a16="http://schemas.microsoft.com/office/drawing/2014/main" val="2754611060"/>
                    </a:ext>
                  </a:extLst>
                </a:gridCol>
                <a:gridCol w="599715">
                  <a:extLst>
                    <a:ext uri="{9D8B030D-6E8A-4147-A177-3AD203B41FA5}">
                      <a16:colId xmlns:a16="http://schemas.microsoft.com/office/drawing/2014/main" val="2009200521"/>
                    </a:ext>
                  </a:extLst>
                </a:gridCol>
                <a:gridCol w="620032">
                  <a:extLst>
                    <a:ext uri="{9D8B030D-6E8A-4147-A177-3AD203B41FA5}">
                      <a16:colId xmlns:a16="http://schemas.microsoft.com/office/drawing/2014/main" val="956060485"/>
                    </a:ext>
                  </a:extLst>
                </a:gridCol>
                <a:gridCol w="654357">
                  <a:extLst>
                    <a:ext uri="{9D8B030D-6E8A-4147-A177-3AD203B41FA5}">
                      <a16:colId xmlns:a16="http://schemas.microsoft.com/office/drawing/2014/main" val="3180056035"/>
                    </a:ext>
                  </a:extLst>
                </a:gridCol>
                <a:gridCol w="607233">
                  <a:extLst>
                    <a:ext uri="{9D8B030D-6E8A-4147-A177-3AD203B41FA5}">
                      <a16:colId xmlns:a16="http://schemas.microsoft.com/office/drawing/2014/main" val="112337579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1467788661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1132269916"/>
                    </a:ext>
                  </a:extLst>
                </a:gridCol>
                <a:gridCol w="560708">
                  <a:extLst>
                    <a:ext uri="{9D8B030D-6E8A-4147-A177-3AD203B41FA5}">
                      <a16:colId xmlns:a16="http://schemas.microsoft.com/office/drawing/2014/main" val="1049320280"/>
                    </a:ext>
                  </a:extLst>
                </a:gridCol>
                <a:gridCol w="700885">
                  <a:extLst>
                    <a:ext uri="{9D8B030D-6E8A-4147-A177-3AD203B41FA5}">
                      <a16:colId xmlns:a16="http://schemas.microsoft.com/office/drawing/2014/main" val="1987619133"/>
                    </a:ext>
                  </a:extLst>
                </a:gridCol>
                <a:gridCol w="560708">
                  <a:extLst>
                    <a:ext uri="{9D8B030D-6E8A-4147-A177-3AD203B41FA5}">
                      <a16:colId xmlns:a16="http://schemas.microsoft.com/office/drawing/2014/main" val="4244913552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2088716958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2397281185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416907511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lta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PR2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Vs PR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en-US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157</a:t>
                      </a:r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VWAG TheSans" panose="020B0502050302020203" pitchFamily="34" charset="0"/>
                        </a:rPr>
                        <a:t>-659</a:t>
                      </a:r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937999"/>
                  </a:ext>
                </a:extLst>
              </a:tr>
            </a:tbl>
          </a:graphicData>
        </a:graphic>
      </p:graphicFrame>
      <p:graphicFrame>
        <p:nvGraphicFramePr>
          <p:cNvPr id="103" name="Table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799188"/>
              </p:ext>
            </p:extLst>
          </p:nvPr>
        </p:nvGraphicFramePr>
        <p:xfrm>
          <a:off x="416496" y="1751400"/>
          <a:ext cx="8568953" cy="394270"/>
        </p:xfrm>
        <a:graphic>
          <a:graphicData uri="http://schemas.openxmlformats.org/drawingml/2006/table">
            <a:tbl>
              <a:tblPr firstRow="1" bandRow="1"/>
              <a:tblGrid>
                <a:gridCol w="936104">
                  <a:extLst>
                    <a:ext uri="{9D8B030D-6E8A-4147-A177-3AD203B41FA5}">
                      <a16:colId xmlns:a16="http://schemas.microsoft.com/office/drawing/2014/main" val="2754611060"/>
                    </a:ext>
                  </a:extLst>
                </a:gridCol>
                <a:gridCol w="774946">
                  <a:extLst>
                    <a:ext uri="{9D8B030D-6E8A-4147-A177-3AD203B41FA5}">
                      <a16:colId xmlns:a16="http://schemas.microsoft.com/office/drawing/2014/main" val="2009200521"/>
                    </a:ext>
                  </a:extLst>
                </a:gridCol>
                <a:gridCol w="620032">
                  <a:extLst>
                    <a:ext uri="{9D8B030D-6E8A-4147-A177-3AD203B41FA5}">
                      <a16:colId xmlns:a16="http://schemas.microsoft.com/office/drawing/2014/main" val="956060485"/>
                    </a:ext>
                  </a:extLst>
                </a:gridCol>
                <a:gridCol w="654357">
                  <a:extLst>
                    <a:ext uri="{9D8B030D-6E8A-4147-A177-3AD203B41FA5}">
                      <a16:colId xmlns:a16="http://schemas.microsoft.com/office/drawing/2014/main" val="3180056035"/>
                    </a:ext>
                  </a:extLst>
                </a:gridCol>
                <a:gridCol w="607233">
                  <a:extLst>
                    <a:ext uri="{9D8B030D-6E8A-4147-A177-3AD203B41FA5}">
                      <a16:colId xmlns:a16="http://schemas.microsoft.com/office/drawing/2014/main" val="112337579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1467788661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1132269916"/>
                    </a:ext>
                  </a:extLst>
                </a:gridCol>
                <a:gridCol w="560708">
                  <a:extLst>
                    <a:ext uri="{9D8B030D-6E8A-4147-A177-3AD203B41FA5}">
                      <a16:colId xmlns:a16="http://schemas.microsoft.com/office/drawing/2014/main" val="1049320280"/>
                    </a:ext>
                  </a:extLst>
                </a:gridCol>
                <a:gridCol w="700885">
                  <a:extLst>
                    <a:ext uri="{9D8B030D-6E8A-4147-A177-3AD203B41FA5}">
                      <a16:colId xmlns:a16="http://schemas.microsoft.com/office/drawing/2014/main" val="1987619133"/>
                    </a:ext>
                  </a:extLst>
                </a:gridCol>
                <a:gridCol w="560708">
                  <a:extLst>
                    <a:ext uri="{9D8B030D-6E8A-4147-A177-3AD203B41FA5}">
                      <a16:colId xmlns:a16="http://schemas.microsoft.com/office/drawing/2014/main" val="4244913552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2088716958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2397281185"/>
                    </a:ext>
                  </a:extLst>
                </a:gridCol>
                <a:gridCol w="630796">
                  <a:extLst>
                    <a:ext uri="{9D8B030D-6E8A-4147-A177-3AD203B41FA5}">
                      <a16:colId xmlns:a16="http://schemas.microsoft.com/office/drawing/2014/main" val="416907511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R1 Segment</a:t>
                      </a:r>
                      <a:r>
                        <a:rPr lang="en-US" sz="10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%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937999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PR2 Segment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WAG TheSans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  <a:endParaRPr kumimoji="0" 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23967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0904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82116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712" name="think-cell Slide" r:id="rId184" imgW="270" imgH="270" progId="TCLayout.ActiveDocument.1">
                  <p:embed/>
                </p:oleObj>
              </mc:Choice>
              <mc:Fallback>
                <p:oleObj name="think-cell Slide" r:id="rId18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8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kumimoji="0" lang="en-US" altLang="zh-CN" sz="10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</a:t>
            </a:r>
            <a:endParaRPr lang="en-US" dirty="0"/>
          </a:p>
        </p:txBody>
      </p:sp>
      <p:cxnSp>
        <p:nvCxnSpPr>
          <p:cNvPr id="901" name="Straight Connector 900"/>
          <p:cNvCxnSpPr/>
          <p:nvPr>
            <p:custDataLst>
              <p:tags r:id="rId4"/>
            </p:custDataLst>
          </p:nvPr>
        </p:nvCxnSpPr>
        <p:spPr bwMode="auto">
          <a:xfrm flipV="1">
            <a:off x="6905626" y="3500438"/>
            <a:ext cx="214313" cy="63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8" name="Straight Connector 777"/>
          <p:cNvCxnSpPr/>
          <p:nvPr>
            <p:custDataLst>
              <p:tags r:id="rId5"/>
            </p:custDataLst>
          </p:nvPr>
        </p:nvCxnSpPr>
        <p:spPr bwMode="auto">
          <a:xfrm flipV="1">
            <a:off x="6905626" y="4722814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2" name="Straight Connector 781"/>
          <p:cNvCxnSpPr/>
          <p:nvPr>
            <p:custDataLst>
              <p:tags r:id="rId6"/>
            </p:custDataLst>
          </p:nvPr>
        </p:nvCxnSpPr>
        <p:spPr bwMode="auto">
          <a:xfrm flipV="1">
            <a:off x="7389813" y="2498725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7" name="Straight Connector 786"/>
          <p:cNvCxnSpPr/>
          <p:nvPr>
            <p:custDataLst>
              <p:tags r:id="rId7"/>
            </p:custDataLst>
          </p:nvPr>
        </p:nvCxnSpPr>
        <p:spPr bwMode="auto">
          <a:xfrm flipV="1">
            <a:off x="7389813" y="4718050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 bwMode="auto">
          <a:xfrm>
            <a:off x="7874000" y="2498725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4" name="Straight Connector 913"/>
          <p:cNvCxnSpPr/>
          <p:nvPr>
            <p:custDataLst>
              <p:tags r:id="rId9"/>
            </p:custDataLst>
          </p:nvPr>
        </p:nvCxnSpPr>
        <p:spPr bwMode="auto">
          <a:xfrm>
            <a:off x="7874001" y="34988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10"/>
            </p:custDataLst>
          </p:nvPr>
        </p:nvCxnSpPr>
        <p:spPr bwMode="auto">
          <a:xfrm flipV="1">
            <a:off x="7874001" y="471646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11"/>
          <p:cNvCxnSpPr/>
          <p:nvPr>
            <p:custDataLst>
              <p:tags r:id="rId11"/>
            </p:custDataLst>
          </p:nvPr>
        </p:nvCxnSpPr>
        <p:spPr bwMode="auto">
          <a:xfrm>
            <a:off x="835660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12"/>
            </p:custDataLst>
          </p:nvPr>
        </p:nvCxnSpPr>
        <p:spPr bwMode="auto">
          <a:xfrm>
            <a:off x="8356601" y="2498725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>
            <p:custDataLst>
              <p:tags r:id="rId13"/>
            </p:custDataLst>
          </p:nvPr>
        </p:nvCxnSpPr>
        <p:spPr bwMode="auto">
          <a:xfrm>
            <a:off x="8356601" y="2670175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/>
          <p:cNvCxnSpPr/>
          <p:nvPr>
            <p:custDataLst>
              <p:tags r:id="rId14"/>
            </p:custDataLst>
          </p:nvPr>
        </p:nvCxnSpPr>
        <p:spPr bwMode="auto">
          <a:xfrm>
            <a:off x="8356601" y="34988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2" name="Straight Connector 671"/>
          <p:cNvCxnSpPr/>
          <p:nvPr>
            <p:custDataLst>
              <p:tags r:id="rId15"/>
            </p:custDataLst>
          </p:nvPr>
        </p:nvCxnSpPr>
        <p:spPr bwMode="auto">
          <a:xfrm>
            <a:off x="1584326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5" name="Straight Connector 684"/>
          <p:cNvCxnSpPr/>
          <p:nvPr>
            <p:custDataLst>
              <p:tags r:id="rId16"/>
            </p:custDataLst>
          </p:nvPr>
        </p:nvCxnSpPr>
        <p:spPr bwMode="auto">
          <a:xfrm flipV="1">
            <a:off x="1584326" y="2716213"/>
            <a:ext cx="214313" cy="587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0" name="Straight Connector 479"/>
          <p:cNvCxnSpPr/>
          <p:nvPr>
            <p:custDataLst>
              <p:tags r:id="rId17"/>
            </p:custDataLst>
          </p:nvPr>
        </p:nvCxnSpPr>
        <p:spPr bwMode="auto">
          <a:xfrm flipV="1">
            <a:off x="1584326" y="3889376"/>
            <a:ext cx="214313" cy="22542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9" name="Straight Connector 738"/>
          <p:cNvCxnSpPr/>
          <p:nvPr>
            <p:custDataLst>
              <p:tags r:id="rId18"/>
            </p:custDataLst>
          </p:nvPr>
        </p:nvCxnSpPr>
        <p:spPr bwMode="auto">
          <a:xfrm>
            <a:off x="4970463" y="2644774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19"/>
            </p:custDataLst>
          </p:nvPr>
        </p:nvCxnSpPr>
        <p:spPr bwMode="auto">
          <a:xfrm>
            <a:off x="8356601" y="4716463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1" name="Straight Connector 680"/>
          <p:cNvCxnSpPr/>
          <p:nvPr>
            <p:custDataLst>
              <p:tags r:id="rId20"/>
            </p:custDataLst>
          </p:nvPr>
        </p:nvCxnSpPr>
        <p:spPr bwMode="auto">
          <a:xfrm>
            <a:off x="2068513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5" name="Straight Connector 834"/>
          <p:cNvCxnSpPr/>
          <p:nvPr>
            <p:custDataLst>
              <p:tags r:id="rId21"/>
            </p:custDataLst>
          </p:nvPr>
        </p:nvCxnSpPr>
        <p:spPr bwMode="auto">
          <a:xfrm>
            <a:off x="2068513" y="257810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22"/>
            </p:custDataLst>
          </p:nvPr>
        </p:nvCxnSpPr>
        <p:spPr bwMode="auto">
          <a:xfrm flipV="1">
            <a:off x="2068513" y="2711451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23"/>
            </p:custDataLst>
          </p:nvPr>
        </p:nvCxnSpPr>
        <p:spPr bwMode="auto">
          <a:xfrm flipV="1">
            <a:off x="2068513" y="3751264"/>
            <a:ext cx="214313" cy="1381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8" name="Straight Connector 687"/>
          <p:cNvCxnSpPr/>
          <p:nvPr>
            <p:custDataLst>
              <p:tags r:id="rId24"/>
            </p:custDataLst>
          </p:nvPr>
        </p:nvCxnSpPr>
        <p:spPr bwMode="auto">
          <a:xfrm flipV="1">
            <a:off x="2068513" y="4864100"/>
            <a:ext cx="214313" cy="746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0" name="Straight Connector 689"/>
          <p:cNvCxnSpPr/>
          <p:nvPr>
            <p:custDataLst>
              <p:tags r:id="rId25"/>
            </p:custDataLst>
          </p:nvPr>
        </p:nvCxnSpPr>
        <p:spPr bwMode="auto">
          <a:xfrm>
            <a:off x="2551114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9" name="Straight Connector 678"/>
          <p:cNvCxnSpPr/>
          <p:nvPr>
            <p:custDataLst>
              <p:tags r:id="rId26"/>
            </p:custDataLst>
          </p:nvPr>
        </p:nvCxnSpPr>
        <p:spPr bwMode="auto">
          <a:xfrm flipV="1">
            <a:off x="1584326" y="4938713"/>
            <a:ext cx="214313" cy="1349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8" name="Straight Connector 907"/>
          <p:cNvCxnSpPr/>
          <p:nvPr>
            <p:custDataLst>
              <p:tags r:id="rId27"/>
            </p:custDataLst>
          </p:nvPr>
        </p:nvCxnSpPr>
        <p:spPr bwMode="auto">
          <a:xfrm flipV="1">
            <a:off x="7389813" y="349885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1" name="Straight Connector 840"/>
          <p:cNvCxnSpPr/>
          <p:nvPr>
            <p:custDataLst>
              <p:tags r:id="rId28"/>
            </p:custDataLst>
          </p:nvPr>
        </p:nvCxnSpPr>
        <p:spPr bwMode="auto">
          <a:xfrm flipV="1">
            <a:off x="2551114" y="2560639"/>
            <a:ext cx="214313" cy="174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>
            <p:custDataLst>
              <p:tags r:id="rId29"/>
            </p:custDataLst>
          </p:nvPr>
        </p:nvCxnSpPr>
        <p:spPr bwMode="auto">
          <a:xfrm>
            <a:off x="2551114" y="3751263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7" name="Straight Connector 696"/>
          <p:cNvCxnSpPr/>
          <p:nvPr>
            <p:custDataLst>
              <p:tags r:id="rId30"/>
            </p:custDataLst>
          </p:nvPr>
        </p:nvCxnSpPr>
        <p:spPr bwMode="auto">
          <a:xfrm>
            <a:off x="2551114" y="4864099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9" name="Straight Connector 698"/>
          <p:cNvCxnSpPr/>
          <p:nvPr>
            <p:custDataLst>
              <p:tags r:id="rId31"/>
            </p:custDataLst>
          </p:nvPr>
        </p:nvCxnSpPr>
        <p:spPr bwMode="auto">
          <a:xfrm>
            <a:off x="303530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8" name="Straight Connector 847"/>
          <p:cNvCxnSpPr/>
          <p:nvPr>
            <p:custDataLst>
              <p:tags r:id="rId32"/>
            </p:custDataLst>
          </p:nvPr>
        </p:nvCxnSpPr>
        <p:spPr bwMode="auto">
          <a:xfrm flipV="1">
            <a:off x="3035301" y="2511426"/>
            <a:ext cx="214313" cy="492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9" name="Straight Connector 788"/>
          <p:cNvCxnSpPr/>
          <p:nvPr>
            <p:custDataLst>
              <p:tags r:id="rId33"/>
            </p:custDataLst>
          </p:nvPr>
        </p:nvCxnSpPr>
        <p:spPr bwMode="auto">
          <a:xfrm>
            <a:off x="787400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" name="Straight Connector 1"/>
          <p:cNvCxnSpPr/>
          <p:nvPr>
            <p:custDataLst>
              <p:tags r:id="rId34"/>
            </p:custDataLst>
          </p:nvPr>
        </p:nvCxnSpPr>
        <p:spPr bwMode="auto">
          <a:xfrm flipV="1">
            <a:off x="3035301" y="2636838"/>
            <a:ext cx="214313" cy="587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/>
          <p:cNvCxnSpPr/>
          <p:nvPr>
            <p:custDataLst>
              <p:tags r:id="rId35"/>
            </p:custDataLst>
          </p:nvPr>
        </p:nvCxnSpPr>
        <p:spPr bwMode="auto">
          <a:xfrm flipV="1">
            <a:off x="3035301" y="3722689"/>
            <a:ext cx="214313" cy="428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6" name="Straight Connector 705"/>
          <p:cNvCxnSpPr/>
          <p:nvPr>
            <p:custDataLst>
              <p:tags r:id="rId36"/>
            </p:custDataLst>
          </p:nvPr>
        </p:nvCxnSpPr>
        <p:spPr bwMode="auto">
          <a:xfrm flipV="1">
            <a:off x="3035301" y="4859338"/>
            <a:ext cx="214313" cy="174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8" name="Straight Connector 707"/>
          <p:cNvCxnSpPr/>
          <p:nvPr>
            <p:custDataLst>
              <p:tags r:id="rId37"/>
            </p:custDataLst>
          </p:nvPr>
        </p:nvCxnSpPr>
        <p:spPr bwMode="auto">
          <a:xfrm>
            <a:off x="3519489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>
            <p:custDataLst>
              <p:tags r:id="rId38"/>
            </p:custDataLst>
          </p:nvPr>
        </p:nvCxnSpPr>
        <p:spPr bwMode="auto">
          <a:xfrm flipV="1">
            <a:off x="3519489" y="2508250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7" name="Straight Connector 716"/>
          <p:cNvCxnSpPr/>
          <p:nvPr>
            <p:custDataLst>
              <p:tags r:id="rId39"/>
            </p:custDataLst>
          </p:nvPr>
        </p:nvCxnSpPr>
        <p:spPr bwMode="auto">
          <a:xfrm>
            <a:off x="4003676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>
            <p:custDataLst>
              <p:tags r:id="rId40"/>
            </p:custDataLst>
          </p:nvPr>
        </p:nvCxnSpPr>
        <p:spPr bwMode="auto">
          <a:xfrm flipV="1">
            <a:off x="3519489" y="2632075"/>
            <a:ext cx="214313" cy="47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4" name="Straight Connector 713"/>
          <p:cNvCxnSpPr/>
          <p:nvPr>
            <p:custDataLst>
              <p:tags r:id="rId41"/>
            </p:custDataLst>
          </p:nvPr>
        </p:nvCxnSpPr>
        <p:spPr bwMode="auto">
          <a:xfrm flipV="1">
            <a:off x="3519489" y="3676650"/>
            <a:ext cx="214313" cy="460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5" name="Straight Connector 714"/>
          <p:cNvCxnSpPr/>
          <p:nvPr>
            <p:custDataLst>
              <p:tags r:id="rId42"/>
            </p:custDataLst>
          </p:nvPr>
        </p:nvCxnSpPr>
        <p:spPr bwMode="auto">
          <a:xfrm flipV="1">
            <a:off x="3519489" y="4846638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Connector 16"/>
          <p:cNvCxnSpPr/>
          <p:nvPr>
            <p:custDataLst>
              <p:tags r:id="rId43"/>
            </p:custDataLst>
          </p:nvPr>
        </p:nvCxnSpPr>
        <p:spPr bwMode="auto">
          <a:xfrm flipV="1">
            <a:off x="4003676" y="250666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1" name="Straight Connector 720"/>
          <p:cNvCxnSpPr/>
          <p:nvPr>
            <p:custDataLst>
              <p:tags r:id="rId44"/>
            </p:custDataLst>
          </p:nvPr>
        </p:nvCxnSpPr>
        <p:spPr bwMode="auto">
          <a:xfrm>
            <a:off x="4003676" y="2632075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4" name="Straight Connector 783"/>
          <p:cNvCxnSpPr/>
          <p:nvPr>
            <p:custDataLst>
              <p:tags r:id="rId45"/>
            </p:custDataLst>
          </p:nvPr>
        </p:nvCxnSpPr>
        <p:spPr bwMode="auto">
          <a:xfrm>
            <a:off x="7389813" y="266700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46"/>
            </p:custDataLst>
          </p:nvPr>
        </p:nvCxnSpPr>
        <p:spPr bwMode="auto">
          <a:xfrm flipV="1">
            <a:off x="4003676" y="3598863"/>
            <a:ext cx="214313" cy="777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4" name="Straight Connector 723"/>
          <p:cNvCxnSpPr/>
          <p:nvPr>
            <p:custDataLst>
              <p:tags r:id="rId47"/>
            </p:custDataLst>
          </p:nvPr>
        </p:nvCxnSpPr>
        <p:spPr bwMode="auto">
          <a:xfrm flipV="1">
            <a:off x="4003676" y="4795838"/>
            <a:ext cx="214313" cy="508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6" name="Straight Connector 725"/>
          <p:cNvCxnSpPr/>
          <p:nvPr>
            <p:custDataLst>
              <p:tags r:id="rId48"/>
            </p:custDataLst>
          </p:nvPr>
        </p:nvCxnSpPr>
        <p:spPr bwMode="auto">
          <a:xfrm>
            <a:off x="4486275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6" name="Straight Connector 865"/>
          <p:cNvCxnSpPr/>
          <p:nvPr>
            <p:custDataLst>
              <p:tags r:id="rId49"/>
            </p:custDataLst>
          </p:nvPr>
        </p:nvCxnSpPr>
        <p:spPr bwMode="auto">
          <a:xfrm>
            <a:off x="4486275" y="2506663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0" name="Straight Connector 729"/>
          <p:cNvCxnSpPr/>
          <p:nvPr>
            <p:custDataLst>
              <p:tags r:id="rId50"/>
            </p:custDataLst>
          </p:nvPr>
        </p:nvCxnSpPr>
        <p:spPr bwMode="auto">
          <a:xfrm>
            <a:off x="4486275" y="2632075"/>
            <a:ext cx="214313" cy="127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>
            <p:custDataLst>
              <p:tags r:id="rId51"/>
            </p:custDataLst>
          </p:nvPr>
        </p:nvCxnSpPr>
        <p:spPr bwMode="auto">
          <a:xfrm flipV="1">
            <a:off x="4486275" y="3573463"/>
            <a:ext cx="214313" cy="254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3" name="Straight Connector 732"/>
          <p:cNvCxnSpPr/>
          <p:nvPr>
            <p:custDataLst>
              <p:tags r:id="rId52"/>
            </p:custDataLst>
          </p:nvPr>
        </p:nvCxnSpPr>
        <p:spPr bwMode="auto">
          <a:xfrm flipV="1">
            <a:off x="4486275" y="4776788"/>
            <a:ext cx="214313" cy="190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4" name="Straight Connector 893"/>
          <p:cNvCxnSpPr/>
          <p:nvPr>
            <p:custDataLst>
              <p:tags r:id="rId53"/>
            </p:custDataLst>
          </p:nvPr>
        </p:nvCxnSpPr>
        <p:spPr bwMode="auto">
          <a:xfrm flipV="1">
            <a:off x="6421439" y="3506788"/>
            <a:ext cx="214313" cy="635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5" name="Straight Connector 734"/>
          <p:cNvCxnSpPr/>
          <p:nvPr>
            <p:custDataLst>
              <p:tags r:id="rId54"/>
            </p:custDataLst>
          </p:nvPr>
        </p:nvCxnSpPr>
        <p:spPr bwMode="auto">
          <a:xfrm>
            <a:off x="4970464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3" name="Straight Connector 942"/>
          <p:cNvCxnSpPr/>
          <p:nvPr>
            <p:custDataLst>
              <p:tags r:id="rId55"/>
            </p:custDataLst>
          </p:nvPr>
        </p:nvCxnSpPr>
        <p:spPr bwMode="auto">
          <a:xfrm flipV="1">
            <a:off x="1584326" y="2578100"/>
            <a:ext cx="214313" cy="555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5" name="Straight Connector 874"/>
          <p:cNvCxnSpPr/>
          <p:nvPr>
            <p:custDataLst>
              <p:tags r:id="rId56"/>
            </p:custDataLst>
          </p:nvPr>
        </p:nvCxnSpPr>
        <p:spPr bwMode="auto">
          <a:xfrm>
            <a:off x="4970463" y="2506663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57"/>
            </p:custDataLst>
          </p:nvPr>
        </p:nvCxnSpPr>
        <p:spPr bwMode="auto">
          <a:xfrm flipV="1">
            <a:off x="6421439" y="4727575"/>
            <a:ext cx="214313" cy="79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3" name="Straight Connector 792"/>
          <p:cNvCxnSpPr/>
          <p:nvPr>
            <p:custDataLst>
              <p:tags r:id="rId58"/>
            </p:custDataLst>
          </p:nvPr>
        </p:nvCxnSpPr>
        <p:spPr bwMode="auto">
          <a:xfrm>
            <a:off x="7874001" y="2668588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Straight Connector 3"/>
          <p:cNvCxnSpPr/>
          <p:nvPr>
            <p:custDataLst>
              <p:tags r:id="rId59"/>
            </p:custDataLst>
          </p:nvPr>
        </p:nvCxnSpPr>
        <p:spPr bwMode="auto">
          <a:xfrm flipV="1">
            <a:off x="4970464" y="3548063"/>
            <a:ext cx="214313" cy="254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2" name="Straight Connector 741"/>
          <p:cNvCxnSpPr/>
          <p:nvPr>
            <p:custDataLst>
              <p:tags r:id="rId60"/>
            </p:custDataLst>
          </p:nvPr>
        </p:nvCxnSpPr>
        <p:spPr bwMode="auto">
          <a:xfrm flipV="1">
            <a:off x="4970464" y="4760913"/>
            <a:ext cx="214313" cy="158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4" name="Straight Connector 743"/>
          <p:cNvCxnSpPr/>
          <p:nvPr>
            <p:custDataLst>
              <p:tags r:id="rId61"/>
            </p:custDataLst>
          </p:nvPr>
        </p:nvCxnSpPr>
        <p:spPr bwMode="auto">
          <a:xfrm>
            <a:off x="5454651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6" name="Straight Connector 745"/>
          <p:cNvCxnSpPr/>
          <p:nvPr>
            <p:custDataLst>
              <p:tags r:id="rId62"/>
            </p:custDataLst>
          </p:nvPr>
        </p:nvCxnSpPr>
        <p:spPr bwMode="auto">
          <a:xfrm flipV="1">
            <a:off x="5454650" y="250825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/>
          <p:nvPr>
            <p:custDataLst>
              <p:tags r:id="rId63"/>
            </p:custDataLst>
          </p:nvPr>
        </p:nvCxnSpPr>
        <p:spPr bwMode="auto">
          <a:xfrm>
            <a:off x="5454650" y="2657475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>
            <p:custDataLst>
              <p:tags r:id="rId64"/>
            </p:custDataLst>
          </p:nvPr>
        </p:nvCxnSpPr>
        <p:spPr bwMode="auto">
          <a:xfrm flipV="1">
            <a:off x="5454651" y="3533775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1" name="Straight Connector 750"/>
          <p:cNvCxnSpPr/>
          <p:nvPr>
            <p:custDataLst>
              <p:tags r:id="rId65"/>
            </p:custDataLst>
          </p:nvPr>
        </p:nvCxnSpPr>
        <p:spPr bwMode="auto">
          <a:xfrm flipV="1">
            <a:off x="5454651" y="4749800"/>
            <a:ext cx="214313" cy="111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3" name="Straight Connector 752"/>
          <p:cNvCxnSpPr/>
          <p:nvPr>
            <p:custDataLst>
              <p:tags r:id="rId66"/>
            </p:custDataLst>
          </p:nvPr>
        </p:nvCxnSpPr>
        <p:spPr bwMode="auto">
          <a:xfrm>
            <a:off x="5938839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>
            <p:custDataLst>
              <p:tags r:id="rId67"/>
            </p:custDataLst>
          </p:nvPr>
        </p:nvCxnSpPr>
        <p:spPr bwMode="auto">
          <a:xfrm flipV="1">
            <a:off x="5938838" y="2505075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68"/>
            </p:custDataLst>
          </p:nvPr>
        </p:nvCxnSpPr>
        <p:spPr bwMode="auto">
          <a:xfrm>
            <a:off x="5938838" y="2660650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7" name="Straight Connector 886"/>
          <p:cNvCxnSpPr/>
          <p:nvPr>
            <p:custDataLst>
              <p:tags r:id="rId69"/>
            </p:custDataLst>
          </p:nvPr>
        </p:nvCxnSpPr>
        <p:spPr bwMode="auto">
          <a:xfrm flipV="1">
            <a:off x="5938839" y="3513138"/>
            <a:ext cx="214313" cy="2063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0" name="Straight Connector 759"/>
          <p:cNvCxnSpPr/>
          <p:nvPr>
            <p:custDataLst>
              <p:tags r:id="rId70"/>
            </p:custDataLst>
          </p:nvPr>
        </p:nvCxnSpPr>
        <p:spPr bwMode="auto">
          <a:xfrm flipV="1">
            <a:off x="5938839" y="4735513"/>
            <a:ext cx="214313" cy="142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0" name="Straight Connector 779"/>
          <p:cNvCxnSpPr/>
          <p:nvPr>
            <p:custDataLst>
              <p:tags r:id="rId71"/>
            </p:custDataLst>
          </p:nvPr>
        </p:nvCxnSpPr>
        <p:spPr bwMode="auto">
          <a:xfrm>
            <a:off x="7389813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2" name="Straight Connector 761"/>
          <p:cNvCxnSpPr/>
          <p:nvPr>
            <p:custDataLst>
              <p:tags r:id="rId72"/>
            </p:custDataLst>
          </p:nvPr>
        </p:nvCxnSpPr>
        <p:spPr bwMode="auto">
          <a:xfrm>
            <a:off x="6421439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2" name="Straight Connector 941"/>
          <p:cNvCxnSpPr/>
          <p:nvPr>
            <p:custDataLst>
              <p:tags r:id="rId73"/>
            </p:custDataLst>
          </p:nvPr>
        </p:nvCxnSpPr>
        <p:spPr bwMode="auto">
          <a:xfrm flipV="1">
            <a:off x="6421438" y="2501900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6" name="Straight Connector 765"/>
          <p:cNvCxnSpPr/>
          <p:nvPr>
            <p:custDataLst>
              <p:tags r:id="rId74"/>
            </p:custDataLst>
          </p:nvPr>
        </p:nvCxnSpPr>
        <p:spPr bwMode="auto">
          <a:xfrm>
            <a:off x="6421438" y="2662238"/>
            <a:ext cx="214313" cy="31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1" name="Straight Connector 770"/>
          <p:cNvCxnSpPr/>
          <p:nvPr>
            <p:custDataLst>
              <p:tags r:id="rId75"/>
            </p:custDataLst>
          </p:nvPr>
        </p:nvCxnSpPr>
        <p:spPr bwMode="auto">
          <a:xfrm>
            <a:off x="6905626" y="2381250"/>
            <a:ext cx="21431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2" name="Straight Connector 801"/>
          <p:cNvCxnSpPr/>
          <p:nvPr>
            <p:custDataLst>
              <p:tags r:id="rId76"/>
            </p:custDataLst>
          </p:nvPr>
        </p:nvCxnSpPr>
        <p:spPr bwMode="auto">
          <a:xfrm flipV="1">
            <a:off x="2551114" y="2695575"/>
            <a:ext cx="214313" cy="158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7" name="Straight Connector 936"/>
          <p:cNvCxnSpPr/>
          <p:nvPr>
            <p:custDataLst>
              <p:tags r:id="rId77"/>
            </p:custDataLst>
          </p:nvPr>
        </p:nvCxnSpPr>
        <p:spPr bwMode="auto">
          <a:xfrm flipV="1">
            <a:off x="6905625" y="250031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5" name="Straight Connector 774"/>
          <p:cNvCxnSpPr/>
          <p:nvPr>
            <p:custDataLst>
              <p:tags r:id="rId78"/>
            </p:custDataLst>
          </p:nvPr>
        </p:nvCxnSpPr>
        <p:spPr bwMode="auto">
          <a:xfrm>
            <a:off x="6905625" y="2665413"/>
            <a:ext cx="214313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94" name="Chart 193"/>
          <p:cNvGraphicFramePr/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2549445363"/>
              </p:ext>
            </p:extLst>
          </p:nvPr>
        </p:nvGraphicFramePr>
        <p:xfrm>
          <a:off x="1125538" y="2176463"/>
          <a:ext cx="8059737" cy="371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6"/>
          </a:graphicData>
        </a:graphic>
      </p:graphicFrame>
      <p:cxnSp>
        <p:nvCxnSpPr>
          <p:cNvPr id="254" name="Straight Connector 253"/>
          <p:cNvCxnSpPr/>
          <p:nvPr>
            <p:custDataLst>
              <p:tags r:id="rId80"/>
            </p:custDataLst>
          </p:nvPr>
        </p:nvCxnSpPr>
        <p:spPr bwMode="auto">
          <a:xfrm>
            <a:off x="1060450" y="2381250"/>
            <a:ext cx="2032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>
            <p:custDataLst>
              <p:tags r:id="rId81"/>
            </p:custDataLst>
          </p:nvPr>
        </p:nvCxnSpPr>
        <p:spPr bwMode="auto">
          <a:xfrm>
            <a:off x="1449388" y="2355850"/>
            <a:ext cx="0" cy="3476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>
            <p:custDataLst>
              <p:tags r:id="rId82"/>
            </p:custDataLst>
          </p:nvPr>
        </p:nvCxnSpPr>
        <p:spPr bwMode="auto">
          <a:xfrm flipH="1">
            <a:off x="8805863" y="2586038"/>
            <a:ext cx="5238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6" name="Rectangle 885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6567488" y="40243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D160576-7670-434B-9840-FDD060357D23}" type="datetime'''3''5''.''''''''''''7''''''''''''''''''''''''%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8" name="Rectangle 867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gray">
          <a:xfrm>
            <a:off x="2697163" y="524827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EE819CC-811E-4ABF-9653-EF1A79CEB012}" type="datetime'2''''7''''''''.''''''''''''1''''''''''''''''''''''''''''%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7.1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2" name="Rectangle 861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gray">
          <a:xfrm>
            <a:off x="1246188" y="45021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313F922-DFD6-49A9-AC79-99F05BF277C2}" type="datetime'''2''8''''''''.''''''''''''''''0''''''''''''''''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8.0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1" name="Rectangle 880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gray">
          <a:xfrm>
            <a:off x="5600700" y="518477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177A641-46B9-4CD2-AAE1-D78DF2D9FB2A}" type="datetime'''''''''''''''''''30''''''''''''''''''.''8''''''''''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0.8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70" name="Rectangle 169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gray">
          <a:xfrm>
            <a:off x="8502650" y="401478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79587EC-781B-4647-9651-763706D9D462}" type="datetime'''''''''3''''''5''''''''.''''''''''''''''''6''''%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0" name="Rectangle 259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auto">
          <a:xfrm>
            <a:off x="5124450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6A0281C-B5AF-465A-9E99-9E10E57AF4E3}" type="datetime'''''''''''''''''''2''''''''''0''''2''''''''''''''''''''3E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3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64" name="Rectangle 863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gray">
          <a:xfrm>
            <a:off x="1730375" y="432117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8D7D48B-718E-4287-9A3B-9A3508B17CC5}" type="datetime'''''''''''''''''''''''''''''''3''0''''''.''''''7''''''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0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1" name="Rectangle 860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gray">
          <a:xfrm>
            <a:off x="1246188" y="53467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FBCF403-06A6-4432-B1F9-63AFE2413494}" type="datetime'''''''''''''''''''2''1''.''''4''''''%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1.4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6" name="Rectangle 285"/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1290638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B2ABF16-4320-470A-8686-B119470623F8}" type="datetime'''''''2''0''''''''''''''''''''''''''''''1''''''5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5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5" name="Rectangle 884"/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gray">
          <a:xfrm>
            <a:off x="6567488" y="5173663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DB2740B-6E1F-4C59-9A04-A5C1DF6D05A6}" type="datetime'''''''''''3''''''''''1''''.5''''''''%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5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5" name="Rectangle 634"/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gray">
          <a:xfrm>
            <a:off x="1749425" y="32178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B209A9B-39CA-43EE-829B-7EE7F0458A19}" type="datetime'''''''''''''''''''''''''''''''3''''''4''.''''''''''''2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4.2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3" name="Rectangle 282"/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auto">
          <a:xfrm>
            <a:off x="1774825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2C61E22-9168-4443-A7E0-2B9607C8C025}" type="datetime'''''''''''''''2''''''''''''''''''''01''''''''6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6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1" name="Rectangle 190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gray">
          <a:xfrm>
            <a:off x="7105650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33BAB8A-78A3-4908-A684-38DD35DB8C1B}" type="datetime'''4''''''''''.''''''''''8''''''''''''''''''''''''''%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8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8" name="Rectangle 637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gray">
          <a:xfrm>
            <a:off x="2266950" y="2560638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FE81AF2-E36D-4314-BD28-DA109764FDD6}" type="datetime'3''''''''''''.''''''''9''''''''%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9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1" name="Rectangle 260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auto">
          <a:xfrm>
            <a:off x="4640263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2211186-79D9-4A34-A006-A65675E802E2}" type="datetime'''2''''''''0''''''''''''''2''''''''''''''''2''''E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2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3" name="Rectangle 872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gray">
          <a:xfrm>
            <a:off x="3665538" y="416877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3964AFF-B928-4334-B7F3-CE32F82778CA}" type="datetime'''''3''''4''.''''''''2''''''''''''%''''''''''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4.2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7" name="Rectangle 636"/>
          <p:cNvSpPr>
            <a:spLocks noGrp="1" noChangeArrowheads="1"/>
          </p:cNvSpPr>
          <p:nvPr>
            <p:custDataLst>
              <p:tags r:id="rId99"/>
            </p:custDataLst>
          </p:nvPr>
        </p:nvSpPr>
        <p:spPr bwMode="gray">
          <a:xfrm>
            <a:off x="2232025" y="314642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3D046E1-DE70-470A-BB3F-0FD9B3A03C28}" type="datetime'''''3''''''0''''''''''.''''''''''''''4''''''''''''''''''''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4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5" name="Rectangle 294"/>
          <p:cNvSpPr>
            <a:spLocks noGrp="1" noChangeArrowheads="1"/>
          </p:cNvSpPr>
          <p:nvPr>
            <p:custDataLst>
              <p:tags r:id="rId100"/>
            </p:custDataLst>
          </p:nvPr>
        </p:nvSpPr>
        <p:spPr bwMode="gray">
          <a:xfrm>
            <a:off x="4606925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7E74343-DC1A-422E-B7F1-3EF3746183F6}" type="datetime'2''9'''''''',''''''''''21''5''''''''''''''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9,215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9" name="Rectangle 878"/>
          <p:cNvSpPr>
            <a:spLocks noGrp="1" noChangeArrowheads="1"/>
          </p:cNvSpPr>
          <p:nvPr>
            <p:custDataLst>
              <p:tags r:id="rId101"/>
            </p:custDataLst>
          </p:nvPr>
        </p:nvSpPr>
        <p:spPr bwMode="gray">
          <a:xfrm>
            <a:off x="5116513" y="51911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F200CBF-0038-471F-A16E-8DB91001E2AB}" type="datetime'''''3''''''''''0''''''''''''''''''''''.''''''''5''%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0.5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5" name="Rectangle 264"/>
          <p:cNvSpPr>
            <a:spLocks noGrp="1" noChangeArrowheads="1"/>
          </p:cNvSpPr>
          <p:nvPr>
            <p:custDataLst>
              <p:tags r:id="rId102"/>
            </p:custDataLst>
          </p:nvPr>
        </p:nvSpPr>
        <p:spPr bwMode="auto">
          <a:xfrm>
            <a:off x="3225800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9A04D99-2CDE-441D-8FA9-793B02B0999C}" type="datetime'''''''2''''''''''''0''''''''''19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9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0" name="Rectangle 869"/>
          <p:cNvSpPr>
            <a:spLocks noGrp="1" noChangeArrowheads="1"/>
          </p:cNvSpPr>
          <p:nvPr>
            <p:custDataLst>
              <p:tags r:id="rId103"/>
            </p:custDataLst>
          </p:nvPr>
        </p:nvSpPr>
        <p:spPr bwMode="gray">
          <a:xfrm>
            <a:off x="3181350" y="524033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D7F5241-FA66-4320-9F82-3851810CC836}" type="datetime'''''''''''''''''''2''''7''''.''''''6%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7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5" name="Rectangle 254"/>
          <p:cNvSpPr>
            <a:spLocks noGrp="1" noChangeArrowheads="1"/>
          </p:cNvSpPr>
          <p:nvPr>
            <p:custDataLst>
              <p:tags r:id="rId104"/>
            </p:custDataLst>
          </p:nvPr>
        </p:nvSpPr>
        <p:spPr bwMode="auto">
          <a:xfrm>
            <a:off x="1028700" y="4502150"/>
            <a:ext cx="1746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BF4EF34D-7898-4727-B46C-4710E130F74E}" type="datetime'''''''''''''''''''N''''''''''''''''B''''''''''''''''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NB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67" name="Rectangle 866"/>
          <p:cNvSpPr>
            <a:spLocks noGrp="1" noChangeArrowheads="1"/>
          </p:cNvSpPr>
          <p:nvPr>
            <p:custDataLst>
              <p:tags r:id="rId105"/>
            </p:custDataLst>
          </p:nvPr>
        </p:nvSpPr>
        <p:spPr bwMode="gray">
          <a:xfrm>
            <a:off x="2212975" y="42148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1C153D3-FC79-4125-8EDE-09C2EE3FE67E}" type="datetime'''''3''2''''.''''''''''''''''''''''5''''''''''%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2.5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5" name="Rectangle 864"/>
          <p:cNvSpPr>
            <a:spLocks noGrp="1" noChangeArrowheads="1"/>
          </p:cNvSpPr>
          <p:nvPr>
            <p:custDataLst>
              <p:tags r:id="rId106"/>
            </p:custDataLst>
          </p:nvPr>
        </p:nvSpPr>
        <p:spPr bwMode="gray">
          <a:xfrm>
            <a:off x="2212975" y="52419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6C0BEC9-E2B8-4C41-B0DA-7A92D362997C}" type="datetime'''''''''''''''''2''''''''''''''7''''''''.''''5''''''''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7.5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90" name="Rectangle 889"/>
          <p:cNvSpPr>
            <a:spLocks noGrp="1" noChangeArrowheads="1"/>
          </p:cNvSpPr>
          <p:nvPr>
            <p:custDataLst>
              <p:tags r:id="rId107"/>
            </p:custDataLst>
          </p:nvPr>
        </p:nvSpPr>
        <p:spPr bwMode="gray">
          <a:xfrm>
            <a:off x="7535863" y="51689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7C42F2C-9A31-4A73-9C25-DFEF8AC613F9}" type="datetime'''''31''''''''''''''''''''''''''''''.''''7%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3" name="Rectangle 642"/>
          <p:cNvSpPr>
            <a:spLocks noGrp="1" noChangeArrowheads="1"/>
          </p:cNvSpPr>
          <p:nvPr>
            <p:custDataLst>
              <p:tags r:id="rId108"/>
            </p:custDataLst>
          </p:nvPr>
        </p:nvSpPr>
        <p:spPr bwMode="gray">
          <a:xfrm>
            <a:off x="3684588" y="307022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794F150-B721-4DAE-B035-2E0FA7307EC4}" type="datetime'''''''''''''''30''''''''''''''''''''''''.5''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.5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0" name="Rectangle 289"/>
          <p:cNvSpPr>
            <a:spLocks noGrp="1" noChangeArrowheads="1"/>
          </p:cNvSpPr>
          <p:nvPr>
            <p:custDataLst>
              <p:tags r:id="rId109"/>
            </p:custDataLst>
          </p:nvPr>
        </p:nvSpPr>
        <p:spPr bwMode="auto">
          <a:xfrm>
            <a:off x="2257425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0361D15-3FD0-4863-86BE-1F0460C75340}" type="datetime'''''''''''''''''2''''''''''''''''''''''0''1''7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7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0" name="Rectangle 879"/>
          <p:cNvSpPr>
            <a:spLocks noGrp="1" noChangeArrowheads="1"/>
          </p:cNvSpPr>
          <p:nvPr>
            <p:custDataLst>
              <p:tags r:id="rId110"/>
            </p:custDataLst>
          </p:nvPr>
        </p:nvSpPr>
        <p:spPr bwMode="gray">
          <a:xfrm>
            <a:off x="5116513" y="40624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4F1B0C6-3D8F-4815-AD0B-BC092C576C1F}" type="datetime'''''''''''''3''''''''''''''''''''''''''''5.''''''4''''''''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4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7" name="Rectangle 646"/>
          <p:cNvSpPr>
            <a:spLocks noGrp="1" noChangeArrowheads="1"/>
          </p:cNvSpPr>
          <p:nvPr>
            <p:custDataLst>
              <p:tags r:id="rId111"/>
            </p:custDataLst>
          </p:nvPr>
        </p:nvSpPr>
        <p:spPr bwMode="gray">
          <a:xfrm>
            <a:off x="4651375" y="302418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F8B3E8A-324B-4192-987A-151BD0656BAB}" type="datetime'''''2''''''''''''''''''''''''''7''.''''''''1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.1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0" name="Rectangle 639"/>
          <p:cNvSpPr>
            <a:spLocks noGrp="1" noChangeArrowheads="1"/>
          </p:cNvSpPr>
          <p:nvPr>
            <p:custDataLst>
              <p:tags r:id="rId112"/>
            </p:custDataLst>
          </p:nvPr>
        </p:nvSpPr>
        <p:spPr bwMode="gray">
          <a:xfrm>
            <a:off x="2751138" y="2543175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03959AE-C20A-410D-9622-4AE7E5CF6AC8}" type="datetime'''''''''''''''''''3.''''''''''''''''9%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9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39" name="Rectangle 638"/>
          <p:cNvSpPr>
            <a:spLocks noGrp="1" noChangeArrowheads="1"/>
          </p:cNvSpPr>
          <p:nvPr>
            <p:custDataLst>
              <p:tags r:id="rId113"/>
            </p:custDataLst>
          </p:nvPr>
        </p:nvSpPr>
        <p:spPr bwMode="gray">
          <a:xfrm>
            <a:off x="2716213" y="314642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235C4D7-3EE7-425A-8086-D77297465548}" type="datetime'''''''''''''''''''''''3''''''''''''1''''.2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2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4" name="Rectangle 283"/>
          <p:cNvSpPr>
            <a:spLocks noGrp="1" noChangeArrowheads="1"/>
          </p:cNvSpPr>
          <p:nvPr>
            <p:custDataLst>
              <p:tags r:id="rId114"/>
            </p:custDataLst>
          </p:nvPr>
        </p:nvSpPr>
        <p:spPr bwMode="gray">
          <a:xfrm>
            <a:off x="2671763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7C8B242-A96B-4CBA-96E3-417B445C4414}" type="datetime'''''2''''''''''''''''''''''8,''''2''''''''''''''''8''''''3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8,283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2" name="Rectangle 891"/>
          <p:cNvSpPr>
            <a:spLocks noGrp="1" noChangeArrowheads="1"/>
          </p:cNvSpPr>
          <p:nvPr>
            <p:custDataLst>
              <p:tags r:id="rId115"/>
            </p:custDataLst>
          </p:nvPr>
        </p:nvSpPr>
        <p:spPr bwMode="gray">
          <a:xfrm>
            <a:off x="8018463" y="51689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07D964-79D5-4554-9954-87E616E06371}" type="datetime'''''''''''''''''''3''''''1''''.''8''''''%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8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2" name="Rectangle 641"/>
          <p:cNvSpPr>
            <a:spLocks noGrp="1" noChangeArrowheads="1"/>
          </p:cNvSpPr>
          <p:nvPr>
            <p:custDataLst>
              <p:tags r:id="rId116"/>
            </p:custDataLst>
          </p:nvPr>
        </p:nvSpPr>
        <p:spPr bwMode="gray">
          <a:xfrm>
            <a:off x="3235325" y="2489200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8FCAE76-3DFA-42BB-BF06-91DD6EE739E1}" type="datetime'3''.''''''''''''''7''''''''''''%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7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9" name="Rectangle 868"/>
          <p:cNvSpPr>
            <a:spLocks noGrp="1" noChangeArrowheads="1"/>
          </p:cNvSpPr>
          <p:nvPr>
            <p:custDataLst>
              <p:tags r:id="rId117"/>
            </p:custDataLst>
          </p:nvPr>
        </p:nvSpPr>
        <p:spPr bwMode="gray">
          <a:xfrm>
            <a:off x="2697163" y="422910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DC18045-78D8-42A9-A5B8-A32ACD69D9D6}" type="datetime'''''''3''''''2''''''.''''''''''''''''''''''4''''''''''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2.4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1" name="Rectangle 640"/>
          <p:cNvSpPr>
            <a:spLocks noGrp="1" noChangeArrowheads="1"/>
          </p:cNvSpPr>
          <p:nvPr>
            <p:custDataLst>
              <p:tags r:id="rId118"/>
            </p:custDataLst>
          </p:nvPr>
        </p:nvSpPr>
        <p:spPr bwMode="gray">
          <a:xfrm>
            <a:off x="3200400" y="309562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27654C5-B760-429D-82BB-BFF541974DB2}" type="datetime'''''''3''''''''''''''''''''''''''''''1''''.''7''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7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8" name="Rectangle 877"/>
          <p:cNvSpPr>
            <a:spLocks noGrp="1" noChangeArrowheads="1"/>
          </p:cNvSpPr>
          <p:nvPr>
            <p:custDataLst>
              <p:tags r:id="rId119"/>
            </p:custDataLst>
          </p:nvPr>
        </p:nvSpPr>
        <p:spPr bwMode="gray">
          <a:xfrm>
            <a:off x="4632325" y="40830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88FE3BC-3D66-41AE-AB3B-8C937F63638C}" type="datetime'''''''''''''''''''35''''''.''''''2''''%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2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7" name="Rectangle 266"/>
          <p:cNvSpPr>
            <a:spLocks noGrp="1" noChangeArrowheads="1"/>
          </p:cNvSpPr>
          <p:nvPr>
            <p:custDataLst>
              <p:tags r:id="rId120"/>
            </p:custDataLst>
          </p:nvPr>
        </p:nvSpPr>
        <p:spPr bwMode="auto">
          <a:xfrm>
            <a:off x="3673475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D81110-CE25-4CEA-8FF4-BE9962E1E145}" type="datetime'''''''''2''''''''''''0''''''''20''''''''''''''''''''''''''''E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0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1" name="Rectangle 870"/>
          <p:cNvSpPr>
            <a:spLocks noGrp="1" noChangeArrowheads="1"/>
          </p:cNvSpPr>
          <p:nvPr>
            <p:custDataLst>
              <p:tags r:id="rId121"/>
            </p:custDataLst>
          </p:nvPr>
        </p:nvSpPr>
        <p:spPr bwMode="gray">
          <a:xfrm>
            <a:off x="3181350" y="419893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D557FBF-8D7B-488A-978B-0744EE7AE588}" type="datetime'''''''3''''''''''''''''''''3''''.''''''2''%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3.2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6" name="Rectangle 255"/>
          <p:cNvSpPr>
            <a:spLocks noGrp="1" noChangeArrowheads="1"/>
          </p:cNvSpPr>
          <p:nvPr>
            <p:custDataLst>
              <p:tags r:id="rId122"/>
            </p:custDataLst>
          </p:nvPr>
        </p:nvSpPr>
        <p:spPr bwMode="auto">
          <a:xfrm>
            <a:off x="7543800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6A4C7D3-FF70-4DFE-91E0-EE661F710EB8}" type="datetime'''''''''''''''''''2''''0''2''''''''''''''''''''8''E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8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6" name="Rectangle 875"/>
          <p:cNvSpPr>
            <a:spLocks noGrp="1" noChangeArrowheads="1"/>
          </p:cNvSpPr>
          <p:nvPr>
            <p:custDataLst>
              <p:tags r:id="rId123"/>
            </p:custDataLst>
          </p:nvPr>
        </p:nvSpPr>
        <p:spPr bwMode="gray">
          <a:xfrm>
            <a:off x="4148138" y="410527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EA4D3D4-28A3-4C54-A3A0-5CB2EBFFB72A}" type="datetime'''''3''5''''''''''''''.''''''''''''0''''''''''''%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0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4" name="Rectangle 643"/>
          <p:cNvSpPr>
            <a:spLocks noGrp="1" noChangeArrowheads="1"/>
          </p:cNvSpPr>
          <p:nvPr>
            <p:custDataLst>
              <p:tags r:id="rId124"/>
            </p:custDataLst>
          </p:nvPr>
        </p:nvSpPr>
        <p:spPr bwMode="gray">
          <a:xfrm>
            <a:off x="3719513" y="2486025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EDA23EC-C2B8-4282-BCEB-1CA30A354AF8}" type="datetime'''''''''''''''''''''3''.''''''''''''''6''%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6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2" name="Rectangle 871"/>
          <p:cNvSpPr>
            <a:spLocks noGrp="1" noChangeArrowheads="1"/>
          </p:cNvSpPr>
          <p:nvPr>
            <p:custDataLst>
              <p:tags r:id="rId125"/>
            </p:custDataLst>
          </p:nvPr>
        </p:nvSpPr>
        <p:spPr bwMode="gray">
          <a:xfrm>
            <a:off x="3665538" y="523398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3967321-00A6-4020-921F-533BD6578E1E}" type="datetime'''''''''''2''''''''''''''''''''''''''''8''''''''.''0''''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8.0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6" name="Rectangle 645"/>
          <p:cNvSpPr>
            <a:spLocks noGrp="1" noChangeArrowheads="1"/>
          </p:cNvSpPr>
          <p:nvPr>
            <p:custDataLst>
              <p:tags r:id="rId126"/>
            </p:custDataLst>
          </p:nvPr>
        </p:nvSpPr>
        <p:spPr bwMode="gray">
          <a:xfrm>
            <a:off x="4202113" y="2484438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2A8F43F-A6E3-4963-9749-DA5E3BC46D03}" type="datetime'3.''''''''''''7''''''''''''%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7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5" name="Rectangle 644"/>
          <p:cNvSpPr>
            <a:spLocks noGrp="1" noChangeArrowheads="1"/>
          </p:cNvSpPr>
          <p:nvPr>
            <p:custDataLst>
              <p:tags r:id="rId127"/>
            </p:custDataLst>
          </p:nvPr>
        </p:nvSpPr>
        <p:spPr bwMode="gray">
          <a:xfrm>
            <a:off x="4167188" y="303053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9152C60-C166-4D9E-B4C3-4D6250251B54}" type="datetime'''''''''28''''''''''''.''''''''''''''''''''''''3''''''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8.3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7" name="Rectangle 256"/>
          <p:cNvSpPr>
            <a:spLocks noGrp="1" noChangeArrowheads="1"/>
          </p:cNvSpPr>
          <p:nvPr>
            <p:custDataLst>
              <p:tags r:id="rId128"/>
            </p:custDataLst>
          </p:nvPr>
        </p:nvSpPr>
        <p:spPr bwMode="auto">
          <a:xfrm>
            <a:off x="6575425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90F7DF3-D1F9-4314-AEFE-014FBDB40A0F}" type="datetime'''''''2''''''026''''''''''E''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6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4" name="Rectangle 873"/>
          <p:cNvSpPr>
            <a:spLocks noGrp="1" noChangeArrowheads="1"/>
          </p:cNvSpPr>
          <p:nvPr>
            <p:custDataLst>
              <p:tags r:id="rId129"/>
            </p:custDataLst>
          </p:nvPr>
        </p:nvSpPr>
        <p:spPr bwMode="gray">
          <a:xfrm>
            <a:off x="4148138" y="5208588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1236D43-F747-406D-85BF-912BD79308F8}" type="datetime'2''9''''''''.''5''''''''''''''''''''''''''%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9.5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3" name="Rectangle 262"/>
          <p:cNvSpPr>
            <a:spLocks noGrp="1" noChangeArrowheads="1"/>
          </p:cNvSpPr>
          <p:nvPr>
            <p:custDataLst>
              <p:tags r:id="rId130"/>
            </p:custDataLst>
          </p:nvPr>
        </p:nvSpPr>
        <p:spPr bwMode="auto">
          <a:xfrm>
            <a:off x="4156075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656D6E4-B8A7-4BEE-A596-AF7D679F0FDF}" type="datetime'''''''''''''''''''''''20''''''''''''2''''''''1''''''''E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1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4" name="Rectangle 883"/>
          <p:cNvSpPr>
            <a:spLocks noGrp="1" noChangeArrowheads="1"/>
          </p:cNvSpPr>
          <p:nvPr>
            <p:custDataLst>
              <p:tags r:id="rId131"/>
            </p:custDataLst>
          </p:nvPr>
        </p:nvSpPr>
        <p:spPr bwMode="gray">
          <a:xfrm>
            <a:off x="6083300" y="40322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A683C82-813B-4F5C-96CC-CBEB03670DF3}" type="datetime'''''''''''''''''''''3''''5''''''.''7''''''''%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77" name="Rectangle 876"/>
          <p:cNvSpPr>
            <a:spLocks noGrp="1" noChangeArrowheads="1"/>
          </p:cNvSpPr>
          <p:nvPr>
            <p:custDataLst>
              <p:tags r:id="rId132"/>
            </p:custDataLst>
          </p:nvPr>
        </p:nvSpPr>
        <p:spPr bwMode="gray">
          <a:xfrm>
            <a:off x="4632325" y="5199063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B33A69A-E424-4FBF-8759-F6273FB56001}" type="datetime'''''''''''''''''''''3''''''''''0''''''.''''''''''''0%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0.0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49" name="Rectangle 648"/>
          <p:cNvSpPr>
            <a:spLocks noGrp="1" noChangeArrowheads="1"/>
          </p:cNvSpPr>
          <p:nvPr>
            <p:custDataLst>
              <p:tags r:id="rId133"/>
            </p:custDataLst>
          </p:nvPr>
        </p:nvSpPr>
        <p:spPr bwMode="gray">
          <a:xfrm>
            <a:off x="5135563" y="301783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C8633A5-D2C1-48E9-9A35-166951FC69A0}" type="datetime'''''''''''''''''''''''''''''''''''26.''0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6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1" name="Rectangle 650"/>
          <p:cNvSpPr>
            <a:spLocks noGrp="1" noChangeArrowheads="1"/>
          </p:cNvSpPr>
          <p:nvPr>
            <p:custDataLst>
              <p:tags r:id="rId134"/>
            </p:custDataLst>
          </p:nvPr>
        </p:nvSpPr>
        <p:spPr bwMode="gray">
          <a:xfrm>
            <a:off x="5619750" y="301307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263A437-C4E4-47F4-9F3A-32A49D186FEC}" type="datetime'2''''''5''''''''''''.''''''''5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5.5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93" name="Rectangle 892"/>
          <p:cNvSpPr>
            <a:spLocks noGrp="1" noChangeArrowheads="1"/>
          </p:cNvSpPr>
          <p:nvPr>
            <p:custDataLst>
              <p:tags r:id="rId135"/>
            </p:custDataLst>
          </p:nvPr>
        </p:nvSpPr>
        <p:spPr bwMode="gray">
          <a:xfrm>
            <a:off x="8018463" y="4014788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2D993F7-6774-4C3A-BA53-9CE7EBE44C03}" type="datetime'''3''''5''''''''''''''''''''''''''''''''''.6''''''%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2" name="Rectangle 881"/>
          <p:cNvSpPr>
            <a:spLocks noGrp="1" noChangeArrowheads="1"/>
          </p:cNvSpPr>
          <p:nvPr>
            <p:custDataLst>
              <p:tags r:id="rId136"/>
            </p:custDataLst>
          </p:nvPr>
        </p:nvSpPr>
        <p:spPr bwMode="gray">
          <a:xfrm>
            <a:off x="5600700" y="4049713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C36F637-60C9-4D83-BAEC-C95C09D1F3D1}" type="datetime'''''''''''3''''''''5''''.''''5''''''''''''''''''''''''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5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58" name="Rectangle 257"/>
          <p:cNvSpPr>
            <a:spLocks noGrp="1" noChangeArrowheads="1"/>
          </p:cNvSpPr>
          <p:nvPr>
            <p:custDataLst>
              <p:tags r:id="rId137"/>
            </p:custDataLst>
          </p:nvPr>
        </p:nvSpPr>
        <p:spPr bwMode="auto">
          <a:xfrm>
            <a:off x="6091238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82E8BAA-0CA2-4097-95C1-DFA2D294374C}" type="datetime'''''2''''''0''25''''''''''''''''''''''E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5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9" name="Rectangle 258"/>
          <p:cNvSpPr>
            <a:spLocks noGrp="1" noChangeArrowheads="1"/>
          </p:cNvSpPr>
          <p:nvPr>
            <p:custDataLst>
              <p:tags r:id="rId138"/>
            </p:custDataLst>
          </p:nvPr>
        </p:nvSpPr>
        <p:spPr bwMode="auto">
          <a:xfrm>
            <a:off x="5608638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24F81DC-FA82-4A8B-9F1A-E0D475CDD20F}" type="datetime'''''''''''2''''''''''0''''''''24''E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4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3" name="Rectangle 652"/>
          <p:cNvSpPr>
            <a:spLocks noGrp="1" noChangeArrowheads="1"/>
          </p:cNvSpPr>
          <p:nvPr>
            <p:custDataLst>
              <p:tags r:id="rId139"/>
            </p:custDataLst>
          </p:nvPr>
        </p:nvSpPr>
        <p:spPr bwMode="gray">
          <a:xfrm>
            <a:off x="6102350" y="3003550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D4DCB75-9A42-439E-896A-D838392BB34D}" type="datetime'''''''''''''''''''''''''''''''''''24''''''.9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9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5" name="Rectangle 654"/>
          <p:cNvSpPr>
            <a:spLocks noGrp="1" noChangeArrowheads="1"/>
          </p:cNvSpPr>
          <p:nvPr>
            <p:custDataLst>
              <p:tags r:id="rId140"/>
            </p:custDataLst>
          </p:nvPr>
        </p:nvSpPr>
        <p:spPr bwMode="gray">
          <a:xfrm>
            <a:off x="6586538" y="30019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CECC15E-5724-4660-AA60-B7B52AA7A23F}" type="datetime'''''''''''''''''''24''.''''6''''''''''''''''''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6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7" name="Rectangle 656"/>
          <p:cNvSpPr>
            <a:spLocks noGrp="1" noChangeArrowheads="1"/>
          </p:cNvSpPr>
          <p:nvPr>
            <p:custDataLst>
              <p:tags r:id="rId141"/>
            </p:custDataLst>
          </p:nvPr>
        </p:nvSpPr>
        <p:spPr bwMode="gray">
          <a:xfrm>
            <a:off x="7070725" y="299878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8D7A139-8837-4679-A326-67AAAF94984F}" type="datetime'''''''''''2''''''4''''.''''''''4''''''''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4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9" name="Rectangle 888"/>
          <p:cNvSpPr>
            <a:spLocks noGrp="1" noChangeArrowheads="1"/>
          </p:cNvSpPr>
          <p:nvPr>
            <p:custDataLst>
              <p:tags r:id="rId142"/>
            </p:custDataLst>
          </p:nvPr>
        </p:nvSpPr>
        <p:spPr bwMode="gray">
          <a:xfrm>
            <a:off x="7051675" y="4019550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1B05026-0AD7-462A-9D8D-425C55B63862}" type="datetime'''''''''''''''''''''''3''''5.''''7''%''''''''''''''''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7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88" name="Rectangle 887"/>
          <p:cNvSpPr>
            <a:spLocks noGrp="1" noChangeArrowheads="1"/>
          </p:cNvSpPr>
          <p:nvPr>
            <p:custDataLst>
              <p:tags r:id="rId143"/>
            </p:custDataLst>
          </p:nvPr>
        </p:nvSpPr>
        <p:spPr bwMode="gray">
          <a:xfrm>
            <a:off x="7051675" y="517207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20BDEB0-655C-4CD7-AA78-0D5137522782}" type="datetime'3''''''''''''''''''''''1''''''''.''''''''''6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62" name="Rectangle 261"/>
          <p:cNvSpPr>
            <a:spLocks noGrp="1" noChangeArrowheads="1"/>
          </p:cNvSpPr>
          <p:nvPr>
            <p:custDataLst>
              <p:tags r:id="rId144"/>
            </p:custDataLst>
          </p:nvPr>
        </p:nvSpPr>
        <p:spPr bwMode="auto">
          <a:xfrm>
            <a:off x="7059613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7ED908E-41E8-4ECA-905B-C09765584150}" type="datetime'''''''''''''2''''0''''27''E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7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1" name="Rectangle 890"/>
          <p:cNvSpPr>
            <a:spLocks noGrp="1" noChangeArrowheads="1"/>
          </p:cNvSpPr>
          <p:nvPr>
            <p:custDataLst>
              <p:tags r:id="rId145"/>
            </p:custDataLst>
          </p:nvPr>
        </p:nvSpPr>
        <p:spPr bwMode="gray">
          <a:xfrm>
            <a:off x="7535863" y="4016375"/>
            <a:ext cx="406400" cy="1841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5B91644-3AAE-4000-A5CF-0A929EE30192}" type="datetime'''''''''''''''3''''''''''''''''5''''''''''''''.''''''6%''''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5.6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61" name="Rectangle 660"/>
          <p:cNvSpPr>
            <a:spLocks noGrp="1" noChangeArrowheads="1"/>
          </p:cNvSpPr>
          <p:nvPr>
            <p:custDataLst>
              <p:tags r:id="rId146"/>
            </p:custDataLst>
          </p:nvPr>
        </p:nvSpPr>
        <p:spPr bwMode="gray">
          <a:xfrm>
            <a:off x="8037513" y="3000375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51C8669-6A26-455A-96C5-5A1479A9970F}" type="datetime'''''''''''''''''''''2''''''''''''4.2''''''''''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2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2" name="Rectangle 281"/>
          <p:cNvSpPr>
            <a:spLocks noGrp="1" noChangeArrowheads="1"/>
          </p:cNvSpPr>
          <p:nvPr>
            <p:custDataLst>
              <p:tags r:id="rId147"/>
            </p:custDataLst>
          </p:nvPr>
        </p:nvSpPr>
        <p:spPr bwMode="auto">
          <a:xfrm>
            <a:off x="8026400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AF1DA6-1CE2-4C8A-A9F6-B829719389B5}" type="datetime'''''''''''''2''''''''0''2''''9''''''E''''''''''''''''''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29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5" name="Rectangle 894"/>
          <p:cNvSpPr>
            <a:spLocks noGrp="1" noChangeArrowheads="1"/>
          </p:cNvSpPr>
          <p:nvPr>
            <p:custDataLst>
              <p:tags r:id="rId148"/>
            </p:custDataLst>
          </p:nvPr>
        </p:nvSpPr>
        <p:spPr bwMode="gray">
          <a:xfrm>
            <a:off x="8521700" y="3001963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606DB7D-C121-4E7F-8E2A-9DFFE0FFB35C}" type="datetime'2''''4''''''''''''''''''.''''''''''''''1''%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4.1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149"/>
            </p:custDataLst>
          </p:nvPr>
        </p:nvSpPr>
        <p:spPr bwMode="gray">
          <a:xfrm>
            <a:off x="8502650" y="5168900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E0229F8-E082-4EE0-83CF-A8D44BA7524F}" type="datetime'''3''''''''''''''''''''''''''1''''''''.''''''''''''8%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1.8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50" name="Rectangle 149"/>
          <p:cNvSpPr>
            <a:spLocks noGrp="1" noChangeArrowheads="1"/>
          </p:cNvSpPr>
          <p:nvPr>
            <p:custDataLst>
              <p:tags r:id="rId150"/>
            </p:custDataLst>
          </p:nvPr>
        </p:nvSpPr>
        <p:spPr bwMode="auto">
          <a:xfrm>
            <a:off x="8510588" y="5851525"/>
            <a:ext cx="3921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9530D5D-B316-4BB6-8602-DA0FF04484FA}" type="datetime'''''''''''''''''''2''''''''''''''0''''''3''''''0''''E''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30E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4" name="Rectangle 303"/>
          <p:cNvSpPr>
            <a:spLocks noGrp="1" noChangeArrowheads="1"/>
          </p:cNvSpPr>
          <p:nvPr>
            <p:custDataLst>
              <p:tags r:id="rId151"/>
            </p:custDataLst>
          </p:nvPr>
        </p:nvSpPr>
        <p:spPr bwMode="auto">
          <a:xfrm>
            <a:off x="1027113" y="2611438"/>
            <a:ext cx="1762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5F3849FE-73D3-4B9F-886A-58477DDED05C}" type="datetime'''''''H''''''''''''''''''''''''''''''''''''''B''''''''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HB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97" name="Rectangle 396"/>
          <p:cNvSpPr>
            <a:spLocks noGrp="1" noChangeArrowheads="1"/>
          </p:cNvSpPr>
          <p:nvPr>
            <p:custDataLst>
              <p:tags r:id="rId152"/>
            </p:custDataLst>
          </p:nvPr>
        </p:nvSpPr>
        <p:spPr bwMode="auto">
          <a:xfrm>
            <a:off x="915988" y="3352800"/>
            <a:ext cx="2873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C87CF7D5-8FCC-49BA-AC12-E0F74EE1D5A0}" type="datetime'''''''M''''''P''''''''''''''''''''''''''''''''''''''''V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MPV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0" name="Rectangle 299"/>
          <p:cNvSpPr>
            <a:spLocks noGrp="1" noChangeArrowheads="1"/>
          </p:cNvSpPr>
          <p:nvPr>
            <p:custDataLst>
              <p:tags r:id="rId153"/>
            </p:custDataLst>
          </p:nvPr>
        </p:nvSpPr>
        <p:spPr bwMode="auto">
          <a:xfrm>
            <a:off x="950913" y="5346700"/>
            <a:ext cx="2524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4FDD057C-6663-494D-AFDC-16DFFB6E5307}" type="datetime'''S''''''''''''''''''U''''''''''''''''''''''''''''''V'''''">
              <a:rPr lang="en-US" altLang="en-US" sz="11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SUV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3" name="Rectangle 882"/>
          <p:cNvSpPr>
            <a:spLocks noGrp="1" noChangeArrowheads="1"/>
          </p:cNvSpPr>
          <p:nvPr>
            <p:custDataLst>
              <p:tags r:id="rId154"/>
            </p:custDataLst>
          </p:nvPr>
        </p:nvSpPr>
        <p:spPr bwMode="gray">
          <a:xfrm>
            <a:off x="6083300" y="51784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3344742-636E-4ED9-B160-FB5283F56842}" type="datetime'''3''''1''''''''''''.''''''''''''''''''''''''''''''''''''3''%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31.3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99" name="Rectangle 298"/>
          <p:cNvSpPr>
            <a:spLocks noGrp="1" noChangeArrowheads="1"/>
          </p:cNvSpPr>
          <p:nvPr>
            <p:custDataLst>
              <p:tags r:id="rId155"/>
            </p:custDataLst>
          </p:nvPr>
        </p:nvSpPr>
        <p:spPr bwMode="auto">
          <a:xfrm>
            <a:off x="795338" y="2322513"/>
            <a:ext cx="214313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Aft>
                <a:spcPct val="0"/>
              </a:spcAft>
            </a:pPr>
            <a:fld id="{8836CDA9-1E1B-48F9-B812-BB626E1320C8}" type="datetime'''''''''''''''''''''''1''''0''0''''%'''''''''''''">
              <a:rPr lang="en-US" altLang="en-US" sz="700" smtClean="0">
                <a:ea typeface="+mj-ea"/>
                <a:cs typeface="+mj-cs"/>
              </a:rPr>
              <a:pPr algn="r">
                <a:spcAft>
                  <a:spcPct val="0"/>
                </a:spcAft>
              </a:pPr>
              <a:t>100%</a:t>
            </a:fld>
            <a:endParaRPr lang="en-US" sz="7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9" name="Rectangle 448"/>
          <p:cNvSpPr>
            <a:spLocks noGrp="1" noChangeArrowheads="1"/>
          </p:cNvSpPr>
          <p:nvPr>
            <p:custDataLst>
              <p:tags r:id="rId156"/>
            </p:custDataLst>
          </p:nvPr>
        </p:nvSpPr>
        <p:spPr bwMode="gray">
          <a:xfrm>
            <a:off x="2187575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8DFB20E-6658-478D-890C-CCDB89404D20}" type="datetime'''2''9'''''''''''''''''''''''''''''''''''',''8''''1''''2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9,812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9" name="Rectangle 268"/>
          <p:cNvSpPr>
            <a:spLocks noGrp="1" noChangeArrowheads="1"/>
          </p:cNvSpPr>
          <p:nvPr>
            <p:custDataLst>
              <p:tags r:id="rId157"/>
            </p:custDataLst>
          </p:nvPr>
        </p:nvSpPr>
        <p:spPr bwMode="auto">
          <a:xfrm>
            <a:off x="2741613" y="5851525"/>
            <a:ext cx="3175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EDCBD8C-4F39-4567-A5B7-96B427CA532C}" type="datetime'''''''2''''''''''''''''''''''''0''''''1''''''''''''''''8'">
              <a:rPr lang="en-US" altLang="en-US" sz="11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18</a:t>
            </a:fld>
            <a:endParaRPr lang="en-US" sz="1100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2" name="Rectangle 191"/>
          <p:cNvSpPr>
            <a:spLocks noGrp="1" noChangeArrowheads="1"/>
          </p:cNvSpPr>
          <p:nvPr>
            <p:custDataLst>
              <p:tags r:id="rId158"/>
            </p:custDataLst>
          </p:nvPr>
        </p:nvSpPr>
        <p:spPr bwMode="gray">
          <a:xfrm>
            <a:off x="7589838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DBB5EA3-4534-4268-BFA2-CAE3EA4D9253}" type="datetime'''4''''.''9''''''''''''''''%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9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659" name="Rectangle 658"/>
          <p:cNvSpPr>
            <a:spLocks noGrp="1" noChangeArrowheads="1"/>
          </p:cNvSpPr>
          <p:nvPr>
            <p:custDataLst>
              <p:tags r:id="rId159"/>
            </p:custDataLst>
          </p:nvPr>
        </p:nvSpPr>
        <p:spPr bwMode="gray">
          <a:xfrm>
            <a:off x="7554913" y="299878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19347C6-CCFB-4976-B6AA-5705267F8756}" type="datetime'''''''2''''''''4''''''.''''''''''''''''''''''''''''3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.3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447" name="Rectangle 446"/>
          <p:cNvSpPr>
            <a:spLocks noGrp="1" noChangeArrowheads="1"/>
          </p:cNvSpPr>
          <p:nvPr>
            <p:custDataLst>
              <p:tags r:id="rId160"/>
            </p:custDataLst>
          </p:nvPr>
        </p:nvSpPr>
        <p:spPr bwMode="gray">
          <a:xfrm>
            <a:off x="1220788" y="2003425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69C9D65-D27E-4BB8-94C4-6BA530F53680}" type="datetime'2''''''''''''2'''',''''6''''''''''7''3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2,673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8" name="Rectangle 447"/>
          <p:cNvSpPr>
            <a:spLocks noGrp="1" noChangeArrowheads="1"/>
          </p:cNvSpPr>
          <p:nvPr>
            <p:custDataLst>
              <p:tags r:id="rId161"/>
            </p:custDataLst>
          </p:nvPr>
        </p:nvSpPr>
        <p:spPr bwMode="gray">
          <a:xfrm>
            <a:off x="1704975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033AC60-8E56-46EB-A4E0-1DBDC7DFFF8F}" type="datetime'''''''''''''''''''''''''''''''2''7'''''''',''''88''''5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,885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8" name="Rectangle 297"/>
          <p:cNvSpPr>
            <a:spLocks noGrp="1" noChangeArrowheads="1"/>
          </p:cNvSpPr>
          <p:nvPr>
            <p:custDataLst>
              <p:tags r:id="rId162"/>
            </p:custDataLst>
          </p:nvPr>
        </p:nvSpPr>
        <p:spPr bwMode="gray">
          <a:xfrm>
            <a:off x="3155950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ADAAC91-70B4-4120-8EF0-F28FE93A2A1E}" type="datetime'''''''''26,''''''''''''''''''''''''''''8''''''''''''''09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6,809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7" name="Rectangle 296"/>
          <p:cNvSpPr>
            <a:spLocks noGrp="1" noChangeArrowheads="1"/>
          </p:cNvSpPr>
          <p:nvPr>
            <p:custDataLst>
              <p:tags r:id="rId163"/>
            </p:custDataLst>
          </p:nvPr>
        </p:nvSpPr>
        <p:spPr bwMode="gray">
          <a:xfrm>
            <a:off x="3640138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D9202CA-9DD5-4E0F-A231-712D4A21942E}" type="datetime'2''4'''',''''''''''2''''''4''''''7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4,247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6" name="Rectangle 295"/>
          <p:cNvSpPr>
            <a:spLocks noGrp="1" noChangeArrowheads="1"/>
          </p:cNvSpPr>
          <p:nvPr>
            <p:custDataLst>
              <p:tags r:id="rId164"/>
            </p:custDataLst>
          </p:nvPr>
        </p:nvSpPr>
        <p:spPr bwMode="gray">
          <a:xfrm>
            <a:off x="4122738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E220AB0-4E7C-4215-BAF0-ED2103647963}" type="datetime'''2''''''''''''7,''''''''''''''''''4''''''''21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7,421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4" name="Rectangle 293"/>
          <p:cNvSpPr>
            <a:spLocks noGrp="1" noChangeArrowheads="1"/>
          </p:cNvSpPr>
          <p:nvPr>
            <p:custDataLst>
              <p:tags r:id="rId165"/>
            </p:custDataLst>
          </p:nvPr>
        </p:nvSpPr>
        <p:spPr bwMode="gray">
          <a:xfrm>
            <a:off x="5091113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2328FF0-4B4A-4A70-9F9B-6C8E2538F2D8}" type="datetime'''''''''''''''''''''''''''''''''''30'''''''',''''5''4''5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0,545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3" name="Rectangle 292"/>
          <p:cNvSpPr>
            <a:spLocks noGrp="1" noChangeArrowheads="1"/>
          </p:cNvSpPr>
          <p:nvPr>
            <p:custDataLst>
              <p:tags r:id="rId166"/>
            </p:custDataLst>
          </p:nvPr>
        </p:nvSpPr>
        <p:spPr bwMode="gray">
          <a:xfrm>
            <a:off x="5575300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82A9227-6FED-4163-9063-29FD44174052}" type="datetime'''3''''2'''',''''''0''''''''7''''''''8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2,078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92" name="Rectangle 291"/>
          <p:cNvSpPr>
            <a:spLocks noGrp="1" noChangeArrowheads="1"/>
          </p:cNvSpPr>
          <p:nvPr>
            <p:custDataLst>
              <p:tags r:id="rId167"/>
            </p:custDataLst>
          </p:nvPr>
        </p:nvSpPr>
        <p:spPr bwMode="gray">
          <a:xfrm>
            <a:off x="6057900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FA8FE3C-67D7-4DDF-AD5B-F3A61ABC1D99}" type="datetime'33'',''9''''''''''''''0''''''''''''''''''''2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3,902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9" name="Rectangle 288"/>
          <p:cNvSpPr>
            <a:spLocks noGrp="1" noChangeArrowheads="1"/>
          </p:cNvSpPr>
          <p:nvPr>
            <p:custDataLst>
              <p:tags r:id="rId168"/>
            </p:custDataLst>
          </p:nvPr>
        </p:nvSpPr>
        <p:spPr bwMode="gray">
          <a:xfrm>
            <a:off x="6542088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CCFA0B4-1DF4-46CF-BCD0-0304E1F11B53}" type="datetime'''''''''''''''3''''5'''',6''''''4''''''''3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5,643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8" name="Rectangle 287"/>
          <p:cNvSpPr>
            <a:spLocks noGrp="1" noChangeArrowheads="1"/>
          </p:cNvSpPr>
          <p:nvPr>
            <p:custDataLst>
              <p:tags r:id="rId169"/>
            </p:custDataLst>
          </p:nvPr>
        </p:nvSpPr>
        <p:spPr bwMode="gray">
          <a:xfrm>
            <a:off x="7026275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DA6DA32-2B58-49DE-80CE-23B446D94F3C}" type="datetime'3''7'''''''''''''''''',''''''''''''''26''''''''''''''''1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7,261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1" name="Rectangle 280"/>
          <p:cNvSpPr>
            <a:spLocks noGrp="1" noChangeArrowheads="1"/>
          </p:cNvSpPr>
          <p:nvPr>
            <p:custDataLst>
              <p:tags r:id="rId170"/>
            </p:custDataLst>
          </p:nvPr>
        </p:nvSpPr>
        <p:spPr bwMode="gray">
          <a:xfrm>
            <a:off x="7993063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fontAlgn="base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99B3DCF0-4FED-40A6-A115-6D3F9422F739}" type="datetime'''''3''''''''''''''''''9'''''''',50''''''''7'''''''''''''''">
              <a:rPr lang="en-US" altLang="en-US" sz="1100" b="1" smtClean="0">
                <a:ea typeface="+mj-ea"/>
                <a:cs typeface="+mj-cs"/>
              </a:rPr>
              <a:pPr marL="0" indent="0" algn="ctr">
                <a:spcAft>
                  <a:spcPct val="0"/>
                </a:spcAft>
              </a:pPr>
              <a:t>39,507</a:t>
            </a:fld>
            <a:endParaRPr lang="zh-CN" altLang="en-US" sz="11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171"/>
            </p:custDataLst>
          </p:nvPr>
        </p:nvSpPr>
        <p:spPr bwMode="gray">
          <a:xfrm>
            <a:off x="8477250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BF4E6FE-2D1B-4695-A397-2585182167C4}" type="datetime'''''4''''0'''''''''''''',1''''''''''''''''6''''2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0,162</a:t>
            </a:fld>
            <a:endParaRPr lang="en-US" sz="1100" b="1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>
            <p:custDataLst>
              <p:tags r:id="rId172"/>
            </p:custDataLst>
          </p:nvPr>
        </p:nvSpPr>
        <p:spPr bwMode="gray">
          <a:xfrm>
            <a:off x="1784350" y="25622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596AFD5-422F-41C5-8EC1-B0C8F10E0740}" type="datetime'''''''''''''''''4''.''''''''''''''''''''0''''''''''''%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79" name="Rectangle 178"/>
          <p:cNvSpPr>
            <a:spLocks noGrp="1" noChangeArrowheads="1"/>
          </p:cNvSpPr>
          <p:nvPr>
            <p:custDataLst>
              <p:tags r:id="rId173"/>
            </p:custDataLst>
          </p:nvPr>
        </p:nvSpPr>
        <p:spPr bwMode="gray">
          <a:xfrm>
            <a:off x="4686300" y="2490789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AF30699-6285-45EA-8406-01A136FE8AF6}" type="datetime'''''4.0%''''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863" name="Rectangle 862"/>
          <p:cNvSpPr>
            <a:spLocks noGrp="1" noChangeArrowheads="1"/>
          </p:cNvSpPr>
          <p:nvPr>
            <p:custDataLst>
              <p:tags r:id="rId174"/>
            </p:custDataLst>
          </p:nvPr>
        </p:nvSpPr>
        <p:spPr bwMode="gray">
          <a:xfrm>
            <a:off x="1730375" y="5280025"/>
            <a:ext cx="406400" cy="184150"/>
          </a:xfrm>
          <a:prstGeom prst="rect">
            <a:avLst/>
          </a:prstGeom>
          <a:solidFill>
            <a:srgbClr val="E3EF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A15AE11-137A-458C-A694-D808B8BFD487}" type="datetime'''''''''''''25''''''''''''''''''''''.''3%'''">
              <a:rPr lang="en-US" altLang="en-US" sz="11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25.3%</a:t>
            </a:fld>
            <a:endParaRPr lang="en-US" sz="11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87" name="Rectangle 186"/>
          <p:cNvSpPr>
            <a:spLocks noGrp="1" noChangeArrowheads="1"/>
          </p:cNvSpPr>
          <p:nvPr>
            <p:custDataLst>
              <p:tags r:id="rId175"/>
            </p:custDataLst>
          </p:nvPr>
        </p:nvSpPr>
        <p:spPr bwMode="gray">
          <a:xfrm>
            <a:off x="5170488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4E9A9AF-0AA0-47C0-8779-0C4213AF3D03}" type="datetime'''''''''''4.''''''''''''''''''''''''3''%''''''''''''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3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88" name="Rectangle 187"/>
          <p:cNvSpPr>
            <a:spLocks noGrp="1" noChangeArrowheads="1"/>
          </p:cNvSpPr>
          <p:nvPr>
            <p:custDataLst>
              <p:tags r:id="rId176"/>
            </p:custDataLst>
          </p:nvPr>
        </p:nvSpPr>
        <p:spPr bwMode="gray">
          <a:xfrm>
            <a:off x="5654675" y="2500314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69D1B9D-02A2-41D5-9907-863D322556C4}" type="datetime'''''''4''.''''5''''''''''%''''''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5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89" name="Rectangle 188"/>
          <p:cNvSpPr>
            <a:spLocks noGrp="1" noChangeArrowheads="1"/>
          </p:cNvSpPr>
          <p:nvPr>
            <p:custDataLst>
              <p:tags r:id="rId177"/>
            </p:custDataLst>
          </p:nvPr>
        </p:nvSpPr>
        <p:spPr bwMode="gray">
          <a:xfrm>
            <a:off x="6137275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8A22C11-2745-478C-8F62-BF233DD48811}" type="datetime'4''''''''.''''''''6''''''''''''''''''''''''''''''%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6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90" name="Rectangle 189"/>
          <p:cNvSpPr>
            <a:spLocks noGrp="1" noChangeArrowheads="1"/>
          </p:cNvSpPr>
          <p:nvPr>
            <p:custDataLst>
              <p:tags r:id="rId178"/>
            </p:custDataLst>
          </p:nvPr>
        </p:nvSpPr>
        <p:spPr bwMode="gray">
          <a:xfrm>
            <a:off x="6621463" y="2498726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49E7A84-B3E8-4B7A-B09F-3E562565E5C0}" type="datetime'''''''4''''''.''''''''''''''''''7''''''''''''''%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4.7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93" name="Rectangle 192"/>
          <p:cNvSpPr>
            <a:spLocks noGrp="1" noChangeArrowheads="1"/>
          </p:cNvSpPr>
          <p:nvPr>
            <p:custDataLst>
              <p:tags r:id="rId179"/>
            </p:custDataLst>
          </p:nvPr>
        </p:nvSpPr>
        <p:spPr bwMode="gray">
          <a:xfrm>
            <a:off x="8072438" y="2500314"/>
            <a:ext cx="29845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035E71F-6DE6-4A88-B06B-F9FABFF3C558}" type="datetime'''''''''''''''''''''''''''''''''''5''.''0%'''''''''">
              <a:rPr lang="en-US" altLang="en-US" sz="1000" smtClean="0">
                <a:latin typeface="+mn-lt"/>
                <a:ea typeface="+mj-ea"/>
                <a:cs typeface="+mj-cs"/>
                <a:sym typeface="+mn-lt"/>
              </a:rPr>
              <a:pPr algn="ctr">
                <a:spcAft>
                  <a:spcPct val="0"/>
                </a:spcAft>
              </a:pPr>
              <a:t>5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563" name="Rectangle 562"/>
          <p:cNvSpPr>
            <a:spLocks noGrp="1" noChangeArrowheads="1"/>
          </p:cNvSpPr>
          <p:nvPr>
            <p:custDataLst>
              <p:tags r:id="rId180"/>
            </p:custDataLst>
          </p:nvPr>
        </p:nvSpPr>
        <p:spPr bwMode="gray">
          <a:xfrm>
            <a:off x="1265238" y="3360738"/>
            <a:ext cx="368300" cy="1682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CB9E535-A73D-4C77-9FDF-CF919D9D0BA2}" type="datetime'''''''3''''''''9''''''''''''.''''''''1''%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9.1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87" name="Rectangle 286"/>
          <p:cNvSpPr>
            <a:spLocks noGrp="1" noChangeArrowheads="1"/>
          </p:cNvSpPr>
          <p:nvPr>
            <p:custDataLst>
              <p:tags r:id="rId181"/>
            </p:custDataLst>
          </p:nvPr>
        </p:nvSpPr>
        <p:spPr bwMode="gray">
          <a:xfrm>
            <a:off x="7510463" y="2171700"/>
            <a:ext cx="4587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7479316-A464-4D27-A12C-66D526FE5EEF}" type="datetime'''''''''''''''''3''8'''',''4''''62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8,462</a:t>
            </a:fld>
            <a:endParaRPr lang="en-US" sz="1100" b="1" noProof="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2231307" y="1497212"/>
            <a:ext cx="54259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 smtClean="0">
                <a:solidFill>
                  <a:srgbClr val="000000"/>
                </a:solidFill>
                <a:latin typeface="VWAG TheSans" panose="020B0502050302020203" pitchFamily="34" charset="0"/>
              </a:rPr>
              <a:t>PR1 Total Market Segment Trend</a:t>
            </a:r>
            <a:endParaRPr lang="en-US" sz="1400" b="1" u="sng" dirty="0">
              <a:solidFill>
                <a:srgbClr val="000000"/>
              </a:solidFill>
              <a:latin typeface="VWAG TheSans" panose="020B0502050302020203" pitchFamily="34" charset="0"/>
            </a:endParaRPr>
          </a:p>
        </p:txBody>
      </p:sp>
      <p:sp>
        <p:nvSpPr>
          <p:cNvPr id="171" name="Slide Number Placeholder 6"/>
          <p:cNvSpPr txBox="1">
            <a:spLocks/>
          </p:cNvSpPr>
          <p:nvPr/>
        </p:nvSpPr>
        <p:spPr bwMode="auto">
          <a:xfrm>
            <a:off x="8763000" y="6548442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defTabSz="95885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9CF5D4C-9F6E-4E1F-A3C5-05B84EDEF6B8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82" name="TextBox 181"/>
          <p:cNvSpPr txBox="1"/>
          <p:nvPr/>
        </p:nvSpPr>
        <p:spPr>
          <a:xfrm>
            <a:off x="384658" y="6207125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</a:t>
            </a:r>
            <a:r>
              <a:rPr lang="fr-FR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1</a:t>
            </a:r>
            <a:endParaRPr lang="fr-FR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416496" y="1772816"/>
            <a:ext cx="64472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 smtClean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 smtClean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0913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570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762559"/>
              </p:ext>
            </p:extLst>
          </p:nvPr>
        </p:nvGraphicFramePr>
        <p:xfrm>
          <a:off x="1591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735" name="think-cell Slide" r:id="rId144" imgW="360" imgH="360" progId="TCLayout.ActiveDocument.1">
                  <p:embed/>
                </p:oleObj>
              </mc:Choice>
              <mc:Fallback>
                <p:oleObj name="think-cell Slide" r:id="rId144" imgW="360" imgH="360" progId="TCLayout.ActiveDocument.1">
                  <p:embed/>
                  <p:pic>
                    <p:nvPicPr>
                      <p:cNvPr id="10957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8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lang="en-US" altLang="zh-CN" sz="1000" b="1" dirty="0">
              <a:solidFill>
                <a:srgbClr val="000000"/>
              </a:solidFill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109571" name="Rectangle 1" hidden="1"/>
          <p:cNvSpPr>
            <a:spLocks noGrp="1" noChangeArrowheads="1"/>
          </p:cNvSpPr>
          <p:nvPr>
            <p:ph type="body" idx="4294967295"/>
          </p:nvPr>
        </p:nvSpPr>
        <p:spPr>
          <a:xfrm>
            <a:off x="0" y="0"/>
            <a:ext cx="158750" cy="158750"/>
          </a:xfrm>
          <a:solidFill>
            <a:schemeClr val="tx2"/>
          </a:solidFill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/>
          <a:lstStyle/>
          <a:p>
            <a:pPr marL="0" indent="0" defTabSz="674688" eaLnBrk="1" hangingPunct="1">
              <a:lnSpc>
                <a:spcPct val="100000"/>
              </a:lnSpc>
              <a:spcAft>
                <a:spcPct val="0"/>
              </a:spcAft>
            </a:pPr>
            <a:endParaRPr lang="en-US" altLang="en-US" sz="600" smtClean="0">
              <a:ea typeface="宋体" pitchFamily="2" charset="-122"/>
              <a:sym typeface="Arial" pitchFamily="34" charset="0"/>
            </a:endParaRPr>
          </a:p>
        </p:txBody>
      </p:sp>
      <p:sp>
        <p:nvSpPr>
          <p:cNvPr id="109572" name="Rectangle 1" hidden="1"/>
          <p:cNvSpPr>
            <a:spLocks noGrp="1" noChangeArrowheads="1"/>
          </p:cNvSpPr>
          <p:nvPr>
            <p:ph type="body" idx="4294967295"/>
          </p:nvPr>
        </p:nvSpPr>
        <p:spPr>
          <a:xfrm>
            <a:off x="0" y="0"/>
            <a:ext cx="158750" cy="158750"/>
          </a:xfrm>
          <a:solidFill>
            <a:schemeClr val="accent1"/>
          </a:solidFill>
          <a:ln algn="ctr">
            <a:solidFill>
              <a:schemeClr val="tx1"/>
            </a:solidFill>
            <a:round/>
            <a:headEnd/>
            <a:tailEnd/>
          </a:ln>
        </p:spPr>
        <p:txBody>
          <a:bodyPr wrap="none"/>
          <a:lstStyle/>
          <a:p>
            <a:pPr marL="0" indent="0" defTabSz="674688" eaLnBrk="1" hangingPunct="1">
              <a:lnSpc>
                <a:spcPct val="100000"/>
              </a:lnSpc>
              <a:spcAft>
                <a:spcPct val="0"/>
              </a:spcAft>
            </a:pPr>
            <a:endParaRPr lang="en-US" altLang="en-US" sz="6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94" name="Slide Number Placeholder 3"/>
          <p:cNvSpPr txBox="1">
            <a:spLocks/>
          </p:cNvSpPr>
          <p:nvPr/>
        </p:nvSpPr>
        <p:spPr>
          <a:xfrm>
            <a:off x="8763026" y="6548502"/>
            <a:ext cx="733425" cy="17938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fld id="{E9CF5D4C-9F6E-4E1F-A3C5-05B84EDEF6B8}" type="slidenum">
              <a:rPr lang="de-DE" sz="1000" smtClean="0">
                <a:solidFill>
                  <a:srgbClr val="000000"/>
                </a:solidFill>
                <a:latin typeface="VWAG TheSans" panose="020B0502050302020203" pitchFamily="34" charset="0"/>
              </a:rPr>
              <a:pPr algn="r"/>
              <a:t>5</a:t>
            </a:fld>
            <a:endParaRPr lang="de-DE" sz="1000" dirty="0">
              <a:solidFill>
                <a:srgbClr val="000000"/>
              </a:solidFill>
              <a:latin typeface="VWAG TheSans" panose="020B0502050302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VWAG TheSans"/>
              </a:rPr>
              <a:t>Title</a:t>
            </a:r>
            <a:endParaRPr lang="en-US" dirty="0"/>
          </a:p>
        </p:txBody>
      </p:sp>
      <p:graphicFrame>
        <p:nvGraphicFramePr>
          <p:cNvPr id="158" name="Chart 15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15340832"/>
              </p:ext>
            </p:extLst>
          </p:nvPr>
        </p:nvGraphicFramePr>
        <p:xfrm>
          <a:off x="1289050" y="2427288"/>
          <a:ext cx="7556500" cy="2813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6"/>
          </a:graphicData>
        </a:graphic>
      </p:graphicFrame>
      <p:cxnSp>
        <p:nvCxnSpPr>
          <p:cNvPr id="109584" name="Straight Connector 109583"/>
          <p:cNvCxnSpPr/>
          <p:nvPr>
            <p:custDataLst>
              <p:tags r:id="rId5"/>
            </p:custDataLst>
          </p:nvPr>
        </p:nvCxnSpPr>
        <p:spPr bwMode="auto">
          <a:xfrm flipV="1">
            <a:off x="1966913" y="2357438"/>
            <a:ext cx="0" cy="3079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5" name="Straight Connector 109584"/>
          <p:cNvCxnSpPr/>
          <p:nvPr>
            <p:custDataLst>
              <p:tags r:id="rId6"/>
            </p:custDataLst>
          </p:nvPr>
        </p:nvCxnSpPr>
        <p:spPr bwMode="auto">
          <a:xfrm>
            <a:off x="1966913" y="2357438"/>
            <a:ext cx="2397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6" name="Straight Connector 109585"/>
          <p:cNvCxnSpPr/>
          <p:nvPr>
            <p:custDataLst>
              <p:tags r:id="rId7"/>
            </p:custDataLst>
          </p:nvPr>
        </p:nvCxnSpPr>
        <p:spPr bwMode="auto">
          <a:xfrm>
            <a:off x="2206625" y="2357438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8" name="Straight Connector 109587"/>
          <p:cNvCxnSpPr/>
          <p:nvPr>
            <p:custDataLst>
              <p:tags r:id="rId8"/>
            </p:custDataLst>
          </p:nvPr>
        </p:nvCxnSpPr>
        <p:spPr bwMode="auto">
          <a:xfrm>
            <a:off x="2682875" y="2481263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7" name="Straight Connector 109586"/>
          <p:cNvCxnSpPr/>
          <p:nvPr>
            <p:custDataLst>
              <p:tags r:id="rId9"/>
            </p:custDataLst>
          </p:nvPr>
        </p:nvCxnSpPr>
        <p:spPr bwMode="auto">
          <a:xfrm flipV="1">
            <a:off x="2682875" y="2481263"/>
            <a:ext cx="0" cy="3349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89" name="Straight Connector 109588"/>
          <p:cNvCxnSpPr/>
          <p:nvPr>
            <p:custDataLst>
              <p:tags r:id="rId10"/>
            </p:custDataLst>
          </p:nvPr>
        </p:nvCxnSpPr>
        <p:spPr bwMode="auto">
          <a:xfrm>
            <a:off x="2921000" y="2481263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0" name="Straight Connector 109589"/>
          <p:cNvCxnSpPr/>
          <p:nvPr>
            <p:custDataLst>
              <p:tags r:id="rId11"/>
            </p:custDataLst>
          </p:nvPr>
        </p:nvCxnSpPr>
        <p:spPr bwMode="auto">
          <a:xfrm flipV="1">
            <a:off x="3398838" y="2462213"/>
            <a:ext cx="0" cy="2873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1" name="Straight Connector 109590"/>
          <p:cNvCxnSpPr/>
          <p:nvPr>
            <p:custDataLst>
              <p:tags r:id="rId12"/>
            </p:custDataLst>
          </p:nvPr>
        </p:nvCxnSpPr>
        <p:spPr bwMode="auto">
          <a:xfrm>
            <a:off x="3398838" y="2462213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2" name="Straight Connector 109591"/>
          <p:cNvCxnSpPr/>
          <p:nvPr>
            <p:custDataLst>
              <p:tags r:id="rId13"/>
            </p:custDataLst>
          </p:nvPr>
        </p:nvCxnSpPr>
        <p:spPr bwMode="auto">
          <a:xfrm>
            <a:off x="3636963" y="2462213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5" name="Straight Connector 109594"/>
          <p:cNvCxnSpPr/>
          <p:nvPr>
            <p:custDataLst>
              <p:tags r:id="rId14"/>
            </p:custDataLst>
          </p:nvPr>
        </p:nvCxnSpPr>
        <p:spPr bwMode="auto">
          <a:xfrm>
            <a:off x="4351338" y="2449513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3" name="Straight Connector 109592"/>
          <p:cNvCxnSpPr/>
          <p:nvPr>
            <p:custDataLst>
              <p:tags r:id="rId15"/>
            </p:custDataLst>
          </p:nvPr>
        </p:nvCxnSpPr>
        <p:spPr bwMode="auto">
          <a:xfrm flipV="1">
            <a:off x="4113213" y="2449513"/>
            <a:ext cx="0" cy="2476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4" name="Straight Connector 109593"/>
          <p:cNvCxnSpPr/>
          <p:nvPr>
            <p:custDataLst>
              <p:tags r:id="rId16"/>
            </p:custDataLst>
          </p:nvPr>
        </p:nvCxnSpPr>
        <p:spPr bwMode="auto">
          <a:xfrm>
            <a:off x="4113213" y="2449513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6" name="Straight Connector 109595"/>
          <p:cNvCxnSpPr/>
          <p:nvPr>
            <p:custDataLst>
              <p:tags r:id="rId17"/>
            </p:custDataLst>
          </p:nvPr>
        </p:nvCxnSpPr>
        <p:spPr bwMode="auto">
          <a:xfrm flipV="1">
            <a:off x="4829175" y="2397125"/>
            <a:ext cx="0" cy="2365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7" name="Straight Connector 109596"/>
          <p:cNvCxnSpPr/>
          <p:nvPr>
            <p:custDataLst>
              <p:tags r:id="rId18"/>
            </p:custDataLst>
          </p:nvPr>
        </p:nvCxnSpPr>
        <p:spPr bwMode="auto">
          <a:xfrm>
            <a:off x="4829175" y="2397125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8" name="Straight Connector 109597"/>
          <p:cNvCxnSpPr/>
          <p:nvPr>
            <p:custDataLst>
              <p:tags r:id="rId19"/>
            </p:custDataLst>
          </p:nvPr>
        </p:nvCxnSpPr>
        <p:spPr bwMode="auto">
          <a:xfrm>
            <a:off x="5067300" y="239712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" name="Straight Connector 224"/>
          <p:cNvCxnSpPr/>
          <p:nvPr>
            <p:custDataLst>
              <p:tags r:id="rId20"/>
            </p:custDataLst>
          </p:nvPr>
        </p:nvCxnSpPr>
        <p:spPr bwMode="auto">
          <a:xfrm>
            <a:off x="5781675" y="2338388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599" name="Straight Connector 109598"/>
          <p:cNvCxnSpPr/>
          <p:nvPr>
            <p:custDataLst>
              <p:tags r:id="rId21"/>
            </p:custDataLst>
          </p:nvPr>
        </p:nvCxnSpPr>
        <p:spPr bwMode="auto">
          <a:xfrm flipV="1">
            <a:off x="5543550" y="2338387"/>
            <a:ext cx="0" cy="255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4" name="Straight Connector 223"/>
          <p:cNvCxnSpPr/>
          <p:nvPr>
            <p:custDataLst>
              <p:tags r:id="rId22"/>
            </p:custDataLst>
          </p:nvPr>
        </p:nvCxnSpPr>
        <p:spPr bwMode="auto">
          <a:xfrm>
            <a:off x="5543550" y="2338388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4" name="Straight Connector 233"/>
          <p:cNvCxnSpPr/>
          <p:nvPr>
            <p:custDataLst>
              <p:tags r:id="rId23"/>
            </p:custDataLst>
          </p:nvPr>
        </p:nvCxnSpPr>
        <p:spPr bwMode="auto">
          <a:xfrm flipV="1">
            <a:off x="6259513" y="2244725"/>
            <a:ext cx="0" cy="2952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5" name="Straight Connector 234"/>
          <p:cNvCxnSpPr/>
          <p:nvPr>
            <p:custDataLst>
              <p:tags r:id="rId24"/>
            </p:custDataLst>
          </p:nvPr>
        </p:nvCxnSpPr>
        <p:spPr bwMode="auto">
          <a:xfrm>
            <a:off x="6259513" y="2244725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6" name="Straight Connector 235"/>
          <p:cNvCxnSpPr/>
          <p:nvPr>
            <p:custDataLst>
              <p:tags r:id="rId25"/>
            </p:custDataLst>
          </p:nvPr>
        </p:nvCxnSpPr>
        <p:spPr bwMode="auto">
          <a:xfrm>
            <a:off x="6497638" y="224472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9" name="Straight Connector 238"/>
          <p:cNvCxnSpPr/>
          <p:nvPr>
            <p:custDataLst>
              <p:tags r:id="rId26"/>
            </p:custDataLst>
          </p:nvPr>
        </p:nvCxnSpPr>
        <p:spPr bwMode="auto">
          <a:xfrm flipV="1">
            <a:off x="6973888" y="2149475"/>
            <a:ext cx="0" cy="3635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0" name="Straight Connector 239"/>
          <p:cNvCxnSpPr/>
          <p:nvPr>
            <p:custDataLst>
              <p:tags r:id="rId27"/>
            </p:custDataLst>
          </p:nvPr>
        </p:nvCxnSpPr>
        <p:spPr bwMode="auto">
          <a:xfrm>
            <a:off x="6973888" y="2149475"/>
            <a:ext cx="2397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1" name="Straight Connector 240"/>
          <p:cNvCxnSpPr/>
          <p:nvPr>
            <p:custDataLst>
              <p:tags r:id="rId28"/>
            </p:custDataLst>
          </p:nvPr>
        </p:nvCxnSpPr>
        <p:spPr bwMode="auto">
          <a:xfrm>
            <a:off x="7213600" y="214947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4" name="Straight Connector 243"/>
          <p:cNvCxnSpPr/>
          <p:nvPr>
            <p:custDataLst>
              <p:tags r:id="rId29"/>
            </p:custDataLst>
          </p:nvPr>
        </p:nvCxnSpPr>
        <p:spPr bwMode="auto">
          <a:xfrm flipV="1">
            <a:off x="7689850" y="2073275"/>
            <a:ext cx="0" cy="4016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5" name="Straight Connector 244"/>
          <p:cNvCxnSpPr/>
          <p:nvPr>
            <p:custDataLst>
              <p:tags r:id="rId30"/>
            </p:custDataLst>
          </p:nvPr>
        </p:nvCxnSpPr>
        <p:spPr bwMode="auto">
          <a:xfrm>
            <a:off x="7689850" y="2073275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6" name="Straight Connector 245"/>
          <p:cNvCxnSpPr/>
          <p:nvPr>
            <p:custDataLst>
              <p:tags r:id="rId31"/>
            </p:custDataLst>
          </p:nvPr>
        </p:nvCxnSpPr>
        <p:spPr bwMode="auto">
          <a:xfrm>
            <a:off x="7927975" y="207327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9" name="Straight Connector 248"/>
          <p:cNvCxnSpPr/>
          <p:nvPr>
            <p:custDataLst>
              <p:tags r:id="rId32"/>
            </p:custDataLst>
          </p:nvPr>
        </p:nvCxnSpPr>
        <p:spPr bwMode="auto">
          <a:xfrm flipV="1">
            <a:off x="8405813" y="1990724"/>
            <a:ext cx="0" cy="4714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0" name="Straight Connector 249"/>
          <p:cNvCxnSpPr/>
          <p:nvPr>
            <p:custDataLst>
              <p:tags r:id="rId33"/>
            </p:custDataLst>
          </p:nvPr>
        </p:nvCxnSpPr>
        <p:spPr bwMode="auto">
          <a:xfrm>
            <a:off x="8405813" y="1990725"/>
            <a:ext cx="2381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1" name="Straight Connector 250"/>
          <p:cNvCxnSpPr/>
          <p:nvPr>
            <p:custDataLst>
              <p:tags r:id="rId34"/>
            </p:custDataLst>
          </p:nvPr>
        </p:nvCxnSpPr>
        <p:spPr bwMode="auto">
          <a:xfrm>
            <a:off x="8643938" y="1990725"/>
            <a:ext cx="0" cy="271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Rectangle 6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3246438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6E1AD21-3851-46FC-BD3B-BE5B8C02BECC}" type="datetime'''''''2''''''''''''''''02''''''''2''''''''''''''''''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2</a:t>
            </a:fld>
            <a:endParaRPr lang="en-US" sz="105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2828925" y="44910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5DBFA6A-85E6-469E-8194-7889324E0A1A}" type="datetime'''''''''''''''''''''''''2''''''''''''.''''''''''''5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4676775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C2F5F3D-B15A-4264-9BB1-DE802B0DB855}" type="datetime'''''''''''''2''0''''''''''''''''''''''''''''''''''''2''''4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4</a:t>
            </a:fld>
            <a:endParaRPr lang="en-US" sz="105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5" name="Rectangle 174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2828925" y="31448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9F1A6C9-A110-4A81-A75C-FD61B78C59AB}" type="datetime'''''0''''''''''''''''''''''''.''''5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5391150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41A8664-3BFD-4831-80B9-DADB43076EC1}" type="datetime'''2''''''''''''''''''''''''02''''''''''''5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5</a:t>
            </a:fld>
            <a:endParaRPr lang="en-US" sz="105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306763" y="4479925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E714C48-CB2C-47E0-AFA4-B1BB7AB73504}" type="datetime'''2''.''''''''5''''''''''''''''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3544888" y="448468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D46F979-CB1B-4F26-8733-B8B50DD70631}" type="datetime'''''2''''''''''''''''''''.''''''''''''''''5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451475" y="34718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5F64AD7-6CF5-40DF-9B01-085C4B89E8F5}" type="datetime'''''''''''''''''''1''''''''.''5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5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3544888" y="35544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6DFDC0-BFB7-4EC7-AEC8-8721259401AE}" type="datetime'''''''1''''''''.''''''''''''''''''''''3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3544888" y="31210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4445841-BF1F-4435-BF93-FED384182483}" type="datetime'''''''''''''''''''''''''''''0''''''.''''''''''''''''''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4737100" y="44656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78DFE30-E335-49C7-9968-BF997BFDB76D}" type="datetime'''''''2''''''''''''''''''''''''''''''.''''''6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6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4021138" y="4475163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54F3B99-D60B-4321-A929-8180E49BD38D}" type="datetime'''''''''''''''''''''''''''''''2''''''''''''''.''''''''''5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4021138" y="35242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B529BAB-B326-4447-8713-D49DF86EB0AF}" type="datetime'''1''''''''''''''''''''''.''''''''''''''''''4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3284538" y="2787650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C30050C-81A4-4AD4-84BC-93F5D9006E1B}" type="datetime'''''''''4''''''''''''''''''''''''''''''.''''''''''''5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5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9" name="Rectangle 188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835900" y="27543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626C3F1-01F9-4DBC-B219-AD866511B46D}" type="datetime'''0''.''''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1" name="Rectangle 150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4021138" y="308927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88EF94E-BFB9-4378-A026-5AEB3E4097CC}" type="datetime'''''''''''''''''''''0''''''''.4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4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3960813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1C58948-7CCA-478B-86E9-56E5FED48964}" type="datetime'''''20''''''''''''''''''''''2''''''''''''3''''''''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3</a:t>
            </a:fld>
            <a:endParaRPr lang="en-US" sz="105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7597775" y="33766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C3B4747-736A-4182-AF0C-9FF00540A305}" type="datetime'''''''''''1''''''.''''''''''6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4259263" y="44910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9E408D2-D3C0-4183-A058-5D305EBCD1FA}" type="datetime'''''2.''''5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4259263" y="35544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C2283B1-1066-4674-927C-93BBB0270917}" type="datetime'''''''''1''.''''''''''''4''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3" name="Rectangle 182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5689600" y="30019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34F71ED-3252-4A82-8B88-89DD33BF76A2}" type="datetime'''''''''''''0''''''''''''''''''''.''''''''5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6" name="Rectangle 165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7597775" y="28813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F6BEB85-962A-4F92-A03A-5D2C2BA87F93}" type="datetime'0''.''''5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5" name="Rectangle 184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6405563" y="29146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F41C0ED-91B2-43E5-BAA6-539DA9E8048C}" type="datetime'0''''''''''.''''''''''''''''''5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4737100" y="34909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5611CFA-810C-4459-8CF2-42BF967F6E65}" type="datetime'''''''1''''''''''''''''.''''''''''''''''''4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4" name="Rectangle 153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4737100" y="30337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6A026B7-0BF1-43FF-A9AC-7E14FDBEA321}" type="datetime'''''''''''''''''0''.''''''''''''''''''''''''''''''''''5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4975225" y="35258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9D6A9A-009D-4C74-A5C7-0686D2D571C2}" type="datetime'''''''''''''''''''''''''''''''''''''''1''.''''''4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1" name="Rectangle 180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4975225" y="306070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976012A-5CB4-4BE8-9AFF-5ED782BB970B}" type="datetime'''''''''''''0''''''''''''''''''''''''''''''''.''''''5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5451475" y="44656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A8E8482-C48D-4B09-9890-9041DBB67F0F}" type="datetime'''''2''''''''''''''''''''''''''''''''''.''''''''''''''''6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6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6107113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0F069EA-73B3-49B4-B653-6DA09CD72903}" type="datetime'''2''''''''''0''2''6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6</a:t>
            </a:fld>
            <a:endParaRPr lang="en-US" sz="105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7597775" y="4424363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66896D1-FA2C-4BEC-AA0F-B3AF8FBCC462}" type="datetime'''''''''''''''2''''.''''''''''''''''''''''''7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7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6167438" y="444658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84013FC-C0BF-4EF1-81C2-64854E48A05D}" type="datetime'''''''2''''''''''''''''''.7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7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" name="Rectangle 86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7835900" y="438943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9D652E9-EF08-49A6-A33D-A3C7D5A6EAF1}" type="datetime'''''''''''''''''''''''''2''.''''''''''''''''''9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9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0" name="Rectangle 159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6167438" y="29416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406B12A-8859-48B1-8E24-4C05498744E3}" type="datetime'''0''''''''''''''''''''''.''''''''''5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6405563" y="4448175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D50C607-88D3-4235-8D93-54064BDE10A5}" type="datetime'''''2''''''''''.''''''''''6''''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6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6405563" y="341947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7A0BC4F-491A-4AF2-855B-0A1E3DF0469B}" type="datetime'''''1''''''''''''''''''''.''''''''''''6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6881813" y="4438650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43DC30B-DCC2-4187-AE7F-3FCF5C79A636}" type="datetime'''''''''''''2''''''''''''''''.''''''''''''''''''''''7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7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5" name="Rectangle 84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7121525" y="4416425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948546A-032B-487E-91A0-06D0F0D28C1B}" type="datetime'''''''''''''''''2''''''''''''''''''.''''''8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8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6" name="Rectangle 85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7121525" y="33448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6AA38ED-8D3F-4E34-9507-D05D7F9DCA99}" type="datetime'''''''''''''''1''''''.''''''''''''''''''''''6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5" name="Rectangle 144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2590800" y="319087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89378A8-B739-4BFB-9E80-E41986D1C7CE}" type="datetime'0''''''''''''''''''''''''.''''''''''''''''''''''''''4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4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7835900" y="32829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72CC3AF-17EA-455F-AF9F-0E2CE065BFA7}" type="datetime'''''''''''''''''''''''1''''''''''''''''''''''''''.''''''''7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7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1" name="Rectangle 170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7767638" y="5202238"/>
            <a:ext cx="3206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B3CAA30-E578-4AC0-9589-241A5E768523}" type="datetime'''''''''L''''''''''''''''''''''''''''''a''be''''''''''l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Label</a:t>
            </a:fld>
            <a:endParaRPr lang="en-US" sz="105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" name="Rectangle 87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8313738" y="4419600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60CA3C9-28EF-40EE-8A01-5248A9CBB5ED}" type="datetime'2''''''''''''''''''''.''''''''''''''''''''''''''''''8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8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9" name="Rectangle 88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8313738" y="336550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904AC24-BC69-4ED7-A3F8-5168D47D4DC4}" type="datetime'''''''''''''''1''''''''''''''''''''''''''''''''.''''6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6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gray">
          <a:xfrm>
            <a:off x="8313738" y="28686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AB5E40D-6028-4AF8-BC8D-01A631F4B7EA}" type="datetime'0''''''''''''''''''.''''''''''''''''''''''''''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gray">
          <a:xfrm>
            <a:off x="8551863" y="43624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F566D64-3912-4CC5-9C83-7EC2FC330A99}" type="datetime'''''''''''3''''''.''''0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3.0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1" name="Rectangle 190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8551863" y="26892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5949711-7F80-4EF1-B9DB-364FEDB08C3E}" type="datetime'''''''''0''''''''''''''.''''''5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8483600" y="5202238"/>
            <a:ext cx="3206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4C8AAB0-E5E3-4D9D-86D0-3E115F8D40E6}" type="datetime'''''''''''''''''''''''''''''L''''''''''a''''''''''''be''l'''">
              <a:rPr lang="en-US" altLang="en-US" sz="1050" b="1" smtClean="0"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Label</a:t>
            </a:fld>
            <a:endParaRPr lang="en-US" sz="105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8869363" y="4349750"/>
            <a:ext cx="466725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35969543-AB37-4144-96AA-64EFBCF94CD6}" type="datetime'''A'''''' ''''''S''''''''''''''e''d''a''n'''''''''''">
              <a:rPr lang="en-US" altLang="en-US" sz="105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A Sedan</a:t>
            </a:fld>
            <a:endParaRPr lang="en-US" sz="105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1" name="Rectangle 90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8869363" y="3217863"/>
            <a:ext cx="460375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0C7AC2C5-67FB-417B-AEF1-5FB3E8129C5B}" type="datetime'''B'' ''''''''''''Sed''''''''''''''''''''''''a''''''''n'">
              <a:rPr lang="en-US" altLang="en-US" sz="105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B Sedan</a:t>
            </a:fld>
            <a:endParaRPr lang="en-US" sz="105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3" name="Rectangle 132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8869363" y="2736850"/>
            <a:ext cx="461963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28D0224F-092B-439B-A931-110D14352FB0}" type="datetime'''''C'''''' ''''''''S''''''''''''''''''''e''''d''a''''n'''">
              <a:rPr lang="en-US" altLang="en-US" sz="1050" smtClean="0">
                <a:ea typeface="+mj-ea"/>
                <a:cs typeface="+mj-cs"/>
              </a:rPr>
              <a:pPr>
                <a:spcAft>
                  <a:spcPct val="0"/>
                </a:spcAft>
              </a:pPr>
              <a:t>C Sedan</a:t>
            </a:fld>
            <a:endParaRPr lang="en-US" sz="105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gray">
          <a:xfrm>
            <a:off x="8551863" y="32305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275D0C2-586F-4B9F-BF68-95B3A1E2A788}" type="datetime'1.''''''''''7''''''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7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63" name="Rectangle 162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gray">
          <a:xfrm>
            <a:off x="6881813" y="29162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6A427E5-C483-4774-BAB7-762EE53D7BBE}" type="datetime'''''''''0''''''''''''''''''.''''''''''''5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auto">
          <a:xfrm>
            <a:off x="1814513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A7A747E-FEFB-4FBA-BBF8-AA203172CA83}" type="datetime'2''''''''''''''0''''''''''''''''''''''20''''''''''''''''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0</a:t>
            </a:fld>
            <a:endParaRPr lang="en-US" sz="105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7" name="Rectangle 186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gray">
          <a:xfrm>
            <a:off x="7121525" y="28257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5F58021-E8A4-41F4-8489-C2CDDB301433}" type="datetime'''0''''''''''.''''''5''''''''''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4" name="Rectangle 83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gray">
          <a:xfrm>
            <a:off x="6881813" y="34083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EA247C7-898F-4024-A923-3044F0375B72}" type="datetime'''''''''''''''1''''''.''5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5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gray">
          <a:xfrm>
            <a:off x="1398588" y="44148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75AAECC-81AD-4998-949E-8A4CEEE637D1}" type="datetime'''''''''''''2''''''''''''.''''''''''''''''8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8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gray">
          <a:xfrm>
            <a:off x="5689600" y="34877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728112-0A7F-40C7-85A7-55452B633C9B}" type="datetime'''''''1''''''''''''.''''''''''''''''''''5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5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gray">
          <a:xfrm>
            <a:off x="2114550" y="34607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79BD69D-169E-4C68-A662-2F10BB0D8203}" type="datetime'''1''.''''''''''''''''''''''''3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2" name="Rectangle 141"/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gray">
          <a:xfrm>
            <a:off x="1874838" y="30654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249B175-4FAE-4224-B2A5-5C2BCB532F28}" type="datetime'''''''''''''''''''''''''0''''''''''''''''.''''4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4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gray">
          <a:xfrm>
            <a:off x="2114550" y="443230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F530166-FDC5-4AC9-9E22-305D0315FE26}" type="datetime'''''''''''''''''2''''''.''''''''''''''''''7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7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gray">
          <a:xfrm>
            <a:off x="8291513" y="250031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C16DCE9-781A-4011-9D3F-149DE43AEB31}" type="datetime'''5''''''''''.1''''''''''''''''''''''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1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gray">
          <a:xfrm>
            <a:off x="3306763" y="31337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06FA079-D87C-4DB8-A70A-9682423A5626}" type="datetime'''''''''''''''''0''''''''''''''''''''''.4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4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gray">
          <a:xfrm>
            <a:off x="6167438" y="34274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49C0518-F938-4820-BFC2-AC6C37F2753D}" type="datetime'''''''1''''''.''''''''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5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gray">
          <a:xfrm>
            <a:off x="1398588" y="340518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508D14C-F91C-4A62-B7CE-157750E999B2}" type="datetime'''1''''''''''''''''''''.''''''''4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4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99"/>
            </p:custDataLst>
          </p:nvPr>
        </p:nvSpPr>
        <p:spPr bwMode="gray">
          <a:xfrm>
            <a:off x="4975225" y="4484688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DC8180F-A369-4B02-A15D-2C610D7BCFB7}" type="datetime'''''''2''''''''''.''''''5''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17" name="Rectangle 216"/>
          <p:cNvSpPr>
            <a:spLocks noGrp="1" noChangeArrowheads="1"/>
          </p:cNvSpPr>
          <p:nvPr>
            <p:custDataLst>
              <p:tags r:id="rId100"/>
            </p:custDataLst>
          </p:nvPr>
        </p:nvSpPr>
        <p:spPr bwMode="gray">
          <a:xfrm>
            <a:off x="1398588" y="2943225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BCC7B3F-3D76-4C6C-8195-D021CB75AD7B}" type="datetime'''''''''''''''''''''''''''''''''''''0''''.''5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101"/>
            </p:custDataLst>
          </p:nvPr>
        </p:nvSpPr>
        <p:spPr bwMode="gray">
          <a:xfrm>
            <a:off x="1874838" y="44307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AFA3E9D-C3CF-42A8-AC6B-EE42C1E650D5}" type="datetime'''''''''''''''''''''''''''''''''2''''''''.''''7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7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9" name="Rectangle 138"/>
          <p:cNvSpPr>
            <a:spLocks noGrp="1" noChangeArrowheads="1"/>
          </p:cNvSpPr>
          <p:nvPr>
            <p:custDataLst>
              <p:tags r:id="rId102"/>
            </p:custDataLst>
          </p:nvPr>
        </p:nvSpPr>
        <p:spPr bwMode="gray">
          <a:xfrm>
            <a:off x="1852613" y="2703513"/>
            <a:ext cx="2301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631AD4D-3E97-4F2D-9A52-4A038A71C4DA}" type="datetime'''4''''''''''''.''''''''''''''''''''''''''''''6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6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1" name="Rectangle 140"/>
          <p:cNvSpPr>
            <a:spLocks noGrp="1" noChangeArrowheads="1"/>
          </p:cNvSpPr>
          <p:nvPr>
            <p:custDataLst>
              <p:tags r:id="rId103"/>
            </p:custDataLst>
          </p:nvPr>
        </p:nvSpPr>
        <p:spPr bwMode="gray">
          <a:xfrm>
            <a:off x="1874838" y="34734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F1876C8-8AC7-451B-AD23-DDE3B894B3D3}" type="datetime'''''''''''''1''''''''''''''.''''''''3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3" name="Rectangle 172"/>
          <p:cNvSpPr>
            <a:spLocks noGrp="1" noChangeArrowheads="1"/>
          </p:cNvSpPr>
          <p:nvPr>
            <p:custDataLst>
              <p:tags r:id="rId104"/>
            </p:custDataLst>
          </p:nvPr>
        </p:nvSpPr>
        <p:spPr bwMode="gray">
          <a:xfrm>
            <a:off x="2114550" y="302418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66C8B7E-5E84-4F1B-9DC6-E0D566A870D1}" type="datetime'''''''''''''''''''''''''''''0''''''''''''''''''.''5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05"/>
            </p:custDataLst>
          </p:nvPr>
        </p:nvSpPr>
        <p:spPr bwMode="gray">
          <a:xfrm>
            <a:off x="5689600" y="4473575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C400186-A6A8-4022-A14B-DCE56CEEC173}" type="datetime'''''''''''2''.''''''''''''''5''''''''''''''''''''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4" name="Rectangle 133"/>
          <p:cNvSpPr>
            <a:spLocks noGrp="1" noChangeArrowheads="1"/>
          </p:cNvSpPr>
          <p:nvPr>
            <p:custDataLst>
              <p:tags r:id="rId106"/>
            </p:custDataLst>
          </p:nvPr>
        </p:nvSpPr>
        <p:spPr bwMode="auto">
          <a:xfrm>
            <a:off x="8869363" y="2509838"/>
            <a:ext cx="39370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D1B774FD-919F-4085-9085-1D2F1425E960}" type="datetime'''''O''''''''''''''''t''''''''''''h''''''''''''er''''''''s'">
              <a:rPr lang="en-US" altLang="en-US" sz="1050" smtClean="0">
                <a:latin typeface="+mj-lt"/>
                <a:ea typeface="+mj-ea"/>
                <a:cs typeface="+mj-cs"/>
                <a:sym typeface="+mj-lt"/>
              </a:rPr>
              <a:pPr>
                <a:spcAft>
                  <a:spcPct val="0"/>
                </a:spcAft>
              </a:pPr>
              <a:t>Others</a:t>
            </a:fld>
            <a:endParaRPr lang="en-US" sz="105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07"/>
            </p:custDataLst>
          </p:nvPr>
        </p:nvSpPr>
        <p:spPr bwMode="gray">
          <a:xfrm>
            <a:off x="2590800" y="4489450"/>
            <a:ext cx="184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FCFC242-B2D6-4378-8718-827537BD46CE}" type="datetime'''2''.5'''''''''''''">
              <a:rPr lang="en-US" altLang="en-US" sz="900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08"/>
            </p:custDataLst>
          </p:nvPr>
        </p:nvSpPr>
        <p:spPr bwMode="gray">
          <a:xfrm>
            <a:off x="3306763" y="3549650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0D48B01-730E-4C1B-9D6B-CCA3932870E8}" type="datetime'1''''''''''''''''''''.''''''''''3''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09"/>
            </p:custDataLst>
          </p:nvPr>
        </p:nvSpPr>
        <p:spPr bwMode="gray">
          <a:xfrm>
            <a:off x="2828925" y="35734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80B8A0F-E1CA-46DF-A85D-A4BBC11E3B41}" type="datetime'''''1''''''''.''''''''''''3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3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10"/>
            </p:custDataLst>
          </p:nvPr>
        </p:nvSpPr>
        <p:spPr bwMode="gray">
          <a:xfrm>
            <a:off x="2590800" y="358616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106D779-F951-46F3-BBB0-CB8968100762}" type="datetime'''1''''''''''''''''''''''''''''''''''''''.''''''''''''''2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2</a:t>
            </a:fld>
            <a:endParaRPr lang="en-US" sz="90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7" name="Rectangle 156"/>
          <p:cNvSpPr>
            <a:spLocks noGrp="1" noChangeArrowheads="1"/>
          </p:cNvSpPr>
          <p:nvPr>
            <p:custDataLst>
              <p:tags r:id="rId111"/>
            </p:custDataLst>
          </p:nvPr>
        </p:nvSpPr>
        <p:spPr bwMode="gray">
          <a:xfrm>
            <a:off x="5451475" y="2995613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30E60FF-1350-4237-B84E-BACB3EB90FFE}" type="datetime'''''''''0''.''''''''5''''''''''''''''''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12"/>
            </p:custDataLst>
          </p:nvPr>
        </p:nvSpPr>
        <p:spPr bwMode="auto">
          <a:xfrm>
            <a:off x="2530475" y="5202238"/>
            <a:ext cx="304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6974BC0-57BF-4BFA-B8DA-B1EBDF61BE27}" type="datetime'''''''''''''2''02''''''''''''''''''''''''''''''''''''1'''">
              <a:rPr lang="en-US" altLang="en-US" sz="105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21</a:t>
            </a:fld>
            <a:endParaRPr lang="en-US" sz="105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113"/>
            </p:custDataLst>
          </p:nvPr>
        </p:nvSpPr>
        <p:spPr bwMode="gray">
          <a:xfrm>
            <a:off x="1376363" y="2557463"/>
            <a:ext cx="2301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1A97E1A-F3F7-43EA-AC27-EEF8ED7DE675}" type="datetime'''''''''''''4''''''''''''''.''9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.9</a:t>
            </a:fld>
            <a:endParaRPr lang="en-US" sz="11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9" name="Rectangle 178"/>
          <p:cNvSpPr>
            <a:spLocks noGrp="1" noChangeArrowheads="1"/>
          </p:cNvSpPr>
          <p:nvPr>
            <p:custDataLst>
              <p:tags r:id="rId114"/>
            </p:custDataLst>
          </p:nvPr>
        </p:nvSpPr>
        <p:spPr bwMode="gray">
          <a:xfrm>
            <a:off x="4259263" y="3106738"/>
            <a:ext cx="1841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FF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6BD9EE4-A626-4D4D-8F64-0E4E3DDB8D7B}" type="datetime'''''''''0''''''''''''''''''.''''''''''''''''5'''''''''">
              <a:rPr lang="en-US" altLang="en-US" sz="9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0.5</a:t>
            </a:fld>
            <a:endParaRPr lang="en-US" sz="9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6" name="Rectangle 95"/>
          <p:cNvSpPr>
            <a:spLocks noGrp="1" noChangeArrowheads="1"/>
          </p:cNvSpPr>
          <p:nvPr>
            <p:custDataLst>
              <p:tags r:id="rId115"/>
            </p:custDataLst>
          </p:nvPr>
        </p:nvSpPr>
        <p:spPr bwMode="gray">
          <a:xfrm>
            <a:off x="2568575" y="285432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5800811-8302-482B-9C62-9FD41B81D10F}" type="datetime'''''''''''4.''''''''''''''''''''4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4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116"/>
            </p:custDataLst>
          </p:nvPr>
        </p:nvSpPr>
        <p:spPr bwMode="gray">
          <a:xfrm>
            <a:off x="2806700" y="279082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4D3DB38-CF56-4781-BA64-B1345010D443}" type="datetime'4.''''''''''''''5''''''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5</a:t>
            </a:fld>
            <a:endParaRPr lang="en-US" sz="11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117"/>
            </p:custDataLst>
          </p:nvPr>
        </p:nvSpPr>
        <p:spPr bwMode="gray">
          <a:xfrm>
            <a:off x="3522663" y="277177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1621174-FF13-4C8F-B652-D3DAE8AA3F8D}" type="datetime'''''''''''''''''4''''''''''.''''''''''''''5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5</a:t>
            </a:fld>
            <a:endParaRPr lang="en-US" sz="11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18"/>
            </p:custDataLst>
          </p:nvPr>
        </p:nvSpPr>
        <p:spPr bwMode="gray">
          <a:xfrm>
            <a:off x="3998913" y="273526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59B3C93-FD91-495B-B056-A5B18F2E6A98}" type="datetime'''''''''''''4''.''''''''''''''''''''6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6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119"/>
            </p:custDataLst>
          </p:nvPr>
        </p:nvSpPr>
        <p:spPr bwMode="gray">
          <a:xfrm>
            <a:off x="4237038" y="275907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9425A1D-5641-4229-AD12-2A6941043044}" type="datetime'''''''4''''''''''''''''''''''''''''''.6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6</a:t>
            </a:fld>
            <a:endParaRPr lang="en-US" sz="11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120"/>
            </p:custDataLst>
          </p:nvPr>
        </p:nvSpPr>
        <p:spPr bwMode="gray">
          <a:xfrm>
            <a:off x="4714875" y="267176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E744B18-C409-428E-8A01-01A52FA48264}" type="datetime'''''''''''''''''''4''''''''''.''''''''''''''''''7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7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21"/>
            </p:custDataLst>
          </p:nvPr>
        </p:nvSpPr>
        <p:spPr bwMode="gray">
          <a:xfrm>
            <a:off x="4953000" y="2706688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90F43B1-676B-44D7-A2A3-F29EE6FADD65}" type="datetime'4''.''''''''''''''''''''7''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7</a:t>
            </a:fld>
            <a:endParaRPr lang="en-US" sz="11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0" name="Rectangle 109"/>
          <p:cNvSpPr>
            <a:spLocks noGrp="1" noChangeArrowheads="1"/>
          </p:cNvSpPr>
          <p:nvPr>
            <p:custDataLst>
              <p:tags r:id="rId122"/>
            </p:custDataLst>
          </p:nvPr>
        </p:nvSpPr>
        <p:spPr bwMode="gray">
          <a:xfrm>
            <a:off x="5429250" y="2632075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23B4ECA-2C88-4345-8457-4AA43F3A1A5F}" type="datetime'''''''''''''4''.''''''''''''''''''8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2" name="Rectangle 101"/>
          <p:cNvSpPr>
            <a:spLocks noGrp="1" noChangeArrowheads="1"/>
          </p:cNvSpPr>
          <p:nvPr>
            <p:custDataLst>
              <p:tags r:id="rId123"/>
            </p:custDataLst>
          </p:nvPr>
        </p:nvSpPr>
        <p:spPr bwMode="gray">
          <a:xfrm>
            <a:off x="5667375" y="2647950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93E85C1-B06B-4EEA-822E-98092773C6EB}" type="datetime'''''''''''''4''''''''.''''8''''''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124"/>
            </p:custDataLst>
          </p:nvPr>
        </p:nvSpPr>
        <p:spPr bwMode="gray">
          <a:xfrm>
            <a:off x="6145213" y="2578100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F5BA597-340E-4E9D-A0C5-8D3DC9632059}" type="datetime'''''''''4''''''''''''''''''''''''.''9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9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125"/>
            </p:custDataLst>
          </p:nvPr>
        </p:nvSpPr>
        <p:spPr bwMode="gray">
          <a:xfrm>
            <a:off x="6383338" y="2554288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A27D2A6-1415-4C05-B0CA-8F8CA7E54806}" type="datetime'''''''''5''''''''''''''.''''''''''''0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126"/>
            </p:custDataLst>
          </p:nvPr>
        </p:nvSpPr>
        <p:spPr bwMode="gray">
          <a:xfrm>
            <a:off x="6859588" y="255111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32C5ADB-1F0F-4433-83F2-22606D2E13A6}" type="datetime'''''''''''''''''''''''''5''''''''''.''''''''0''''''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127"/>
            </p:custDataLst>
          </p:nvPr>
        </p:nvSpPr>
        <p:spPr bwMode="gray">
          <a:xfrm>
            <a:off x="7099300" y="2459038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EF320F9-664D-4608-96B5-A093A4CB5F8F}" type="datetime'''''''''''5.''''''''''''''''''''''''''''''''''''''2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2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128"/>
            </p:custDataLst>
          </p:nvPr>
        </p:nvSpPr>
        <p:spPr bwMode="gray">
          <a:xfrm>
            <a:off x="7575550" y="2513013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0AEAB44-34FB-454B-9C61-694977D70823}" type="datetime'''''''''5''''''''''''.''''''''''''''''''''''1''''''''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1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129"/>
            </p:custDataLst>
          </p:nvPr>
        </p:nvSpPr>
        <p:spPr bwMode="gray">
          <a:xfrm>
            <a:off x="7813675" y="2382838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D6933D7-FFFB-463C-A7AF-134E99F5C7B0}" type="datetime'''''''''''''''''''''''''''''''''''''5''.''''''''''''''3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3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130"/>
            </p:custDataLst>
          </p:nvPr>
        </p:nvSpPr>
        <p:spPr bwMode="gray">
          <a:xfrm>
            <a:off x="8529638" y="2300288"/>
            <a:ext cx="23018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BFC30CC-4273-4F52-8955-EDD383664E0A}" type="datetime'5''.''''''''''''''''''''''''''''''''5'''''''''''''''''''''''">
              <a:rPr lang="en-US" altLang="en-US" sz="11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5.5</a:t>
            </a:fld>
            <a:endParaRPr lang="en-US" sz="11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3" name="Rectangle 92"/>
          <p:cNvSpPr>
            <a:spLocks noGrp="1" noChangeArrowheads="1"/>
          </p:cNvSpPr>
          <p:nvPr>
            <p:custDataLst>
              <p:tags r:id="rId131"/>
            </p:custDataLst>
          </p:nvPr>
        </p:nvSpPr>
        <p:spPr bwMode="gray">
          <a:xfrm>
            <a:off x="2092325" y="2667000"/>
            <a:ext cx="2301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E6B8728-0836-4256-9596-D7FAB9E691E3}" type="datetime'''''''''''4''''''''.7'''">
              <a:rPr lang="en-US" altLang="en-US" sz="11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7</a:t>
            </a:fld>
            <a:endParaRPr lang="en-US" sz="1100" b="1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3" name="Oval 232"/>
          <p:cNvSpPr>
            <a:spLocks noGrp="1" noChangeArrowheads="1"/>
          </p:cNvSpPr>
          <p:nvPr>
            <p:custDataLst>
              <p:tags r:id="rId132"/>
            </p:custDataLst>
          </p:nvPr>
        </p:nvSpPr>
        <p:spPr bwMode="auto">
          <a:xfrm>
            <a:off x="1919288" y="2238375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AA3300C-E6F0-402D-9D53-01B5ADF5DB2B}" type="datetime'''''''''''''+''''''''''''''''''2''''''''''''''''%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2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8" name="Oval 237"/>
          <p:cNvSpPr>
            <a:spLocks noGrp="1" noChangeArrowheads="1"/>
          </p:cNvSpPr>
          <p:nvPr>
            <p:custDataLst>
              <p:tags r:id="rId133"/>
            </p:custDataLst>
          </p:nvPr>
        </p:nvSpPr>
        <p:spPr bwMode="auto">
          <a:xfrm>
            <a:off x="2635250" y="2362200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897927F-6880-4B99-B497-C465AE4A7D50}" type="datetime'''''''''+''''''3''''''''''''%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3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3" name="Oval 242"/>
          <p:cNvSpPr>
            <a:spLocks noGrp="1" noChangeArrowheads="1"/>
          </p:cNvSpPr>
          <p:nvPr>
            <p:custDataLst>
              <p:tags r:id="rId134"/>
            </p:custDataLst>
          </p:nvPr>
        </p:nvSpPr>
        <p:spPr bwMode="auto">
          <a:xfrm>
            <a:off x="3351213" y="2343150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9663421-D353-4511-A3C3-79EEAE2E5FDF}" type="datetime'''''+''''''''''''''''''1%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1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8" name="Oval 247"/>
          <p:cNvSpPr>
            <a:spLocks noGrp="1" noChangeArrowheads="1"/>
          </p:cNvSpPr>
          <p:nvPr>
            <p:custDataLst>
              <p:tags r:id="rId135"/>
            </p:custDataLst>
          </p:nvPr>
        </p:nvSpPr>
        <p:spPr bwMode="auto">
          <a:xfrm>
            <a:off x="4084638" y="2330450"/>
            <a:ext cx="2968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CE0AA5-79FF-4E5F-95CF-6C7C67EA4DAA}" type="datetime'''-1''''''''''''''''''''''''''''''''''''''''''''''%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-1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3" name="Oval 252"/>
          <p:cNvSpPr>
            <a:spLocks noGrp="1" noChangeArrowheads="1"/>
          </p:cNvSpPr>
          <p:nvPr>
            <p:custDataLst>
              <p:tags r:id="rId136"/>
            </p:custDataLst>
          </p:nvPr>
        </p:nvSpPr>
        <p:spPr bwMode="auto">
          <a:xfrm>
            <a:off x="4800600" y="2278063"/>
            <a:ext cx="2968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9AD6F98-6849-44ED-924F-E01B9A4452F4}" type="datetime'''''''''-1''''''''''''''''''%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-1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8" name="Oval 257"/>
          <p:cNvSpPr>
            <a:spLocks noGrp="1" noChangeArrowheads="1"/>
          </p:cNvSpPr>
          <p:nvPr>
            <p:custDataLst>
              <p:tags r:id="rId137"/>
            </p:custDataLst>
          </p:nvPr>
        </p:nvSpPr>
        <p:spPr bwMode="auto">
          <a:xfrm>
            <a:off x="5514975" y="2219325"/>
            <a:ext cx="2968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0AAAF02-D6D2-42BF-9FE0-83EF867A79EE}" type="datetime'''-''1''%''''''''''''''''''''''''''''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-1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3" name="Oval 262"/>
          <p:cNvSpPr>
            <a:spLocks noGrp="1" noChangeArrowheads="1"/>
          </p:cNvSpPr>
          <p:nvPr>
            <p:custDataLst>
              <p:tags r:id="rId138"/>
            </p:custDataLst>
          </p:nvPr>
        </p:nvSpPr>
        <p:spPr bwMode="auto">
          <a:xfrm>
            <a:off x="6211888" y="2125663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EC2AFCA-5387-4C4E-B760-233935762F93}" type="datetime'''''''''''''''''''+1''''%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1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8" name="Oval 267"/>
          <p:cNvSpPr>
            <a:spLocks noGrp="1" noChangeArrowheads="1"/>
          </p:cNvSpPr>
          <p:nvPr>
            <p:custDataLst>
              <p:tags r:id="rId139"/>
            </p:custDataLst>
          </p:nvPr>
        </p:nvSpPr>
        <p:spPr bwMode="auto">
          <a:xfrm>
            <a:off x="6926263" y="2030413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EE93DFA-E276-45A5-ABC6-3894BF8DBFBD}" type="datetime'''''''+''''''''''''''''''''4''''''''''''''''''''%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4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73" name="Oval 272"/>
          <p:cNvSpPr>
            <a:spLocks noGrp="1" noChangeArrowheads="1"/>
          </p:cNvSpPr>
          <p:nvPr>
            <p:custDataLst>
              <p:tags r:id="rId140"/>
            </p:custDataLst>
          </p:nvPr>
        </p:nvSpPr>
        <p:spPr bwMode="auto">
          <a:xfrm>
            <a:off x="7642225" y="1954213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85DEA93-5AB6-4DDA-A91F-268EF26676E3}" type="datetime'''''''''''''''''''''''''+''''''''''5%''''''''''''''''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5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78" name="Oval 277"/>
          <p:cNvSpPr>
            <a:spLocks noGrp="1" noChangeArrowheads="1"/>
          </p:cNvSpPr>
          <p:nvPr>
            <p:custDataLst>
              <p:tags r:id="rId141"/>
            </p:custDataLst>
          </p:nvPr>
        </p:nvSpPr>
        <p:spPr bwMode="auto">
          <a:xfrm>
            <a:off x="8358188" y="1871663"/>
            <a:ext cx="334963" cy="238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C424F90-B6DE-48D6-B88F-50BF425506A6}" type="datetime'''''''''''''+''''''''''''''''7''''''''''''''''''''%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+7%</a:t>
            </a:fld>
            <a:endParaRPr lang="en-US" sz="1000" b="1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111" name="Table 1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7897636"/>
              </p:ext>
            </p:extLst>
          </p:nvPr>
        </p:nvGraphicFramePr>
        <p:xfrm>
          <a:off x="416496" y="5345953"/>
          <a:ext cx="9046783" cy="997235"/>
        </p:xfrm>
        <a:graphic>
          <a:graphicData uri="http://schemas.openxmlformats.org/drawingml/2006/table">
            <a:tbl>
              <a:tblPr firstRow="1" bandRow="1"/>
              <a:tblGrid>
                <a:gridCol w="68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3044960049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48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87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96806">
                  <a:extLst>
                    <a:ext uri="{9D8B030D-6E8A-4147-A177-3AD203B41FA5}">
                      <a16:colId xmlns:a16="http://schemas.microsoft.com/office/drawing/2014/main" val="49833386"/>
                    </a:ext>
                  </a:extLst>
                </a:gridCol>
              </a:tblGrid>
              <a:tr h="20869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s PR1</a:t>
                      </a: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0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1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2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3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4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5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6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7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8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Total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dan Tota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A Sed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B Sed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effectLst/>
                          <a:latin typeface="+mj-lt"/>
                        </a:rPr>
                        <a:t>C Sed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74" name="Rectangle 173"/>
          <p:cNvSpPr/>
          <p:nvPr/>
        </p:nvSpPr>
        <p:spPr bwMode="auto">
          <a:xfrm>
            <a:off x="585335" y="2436695"/>
            <a:ext cx="123825" cy="813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6" name="Rectangle 175"/>
          <p:cNvSpPr/>
          <p:nvPr/>
        </p:nvSpPr>
        <p:spPr bwMode="auto">
          <a:xfrm>
            <a:off x="585335" y="2635133"/>
            <a:ext cx="123825" cy="81384"/>
          </a:xfrm>
          <a:prstGeom prst="rect">
            <a:avLst/>
          </a:prstGeom>
          <a:solidFill>
            <a:srgbClr val="C6DFE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848545" y="2376733"/>
            <a:ext cx="684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1</a:t>
            </a:r>
            <a:endParaRPr lang="en-US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848544" y="2564904"/>
            <a:ext cx="6004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VWAG TheSans" panose="020B0502050302020203" pitchFamily="34" charset="0"/>
                <a:cs typeface="Arial" panose="020B0604020202020204" pitchFamily="34" charset="0"/>
              </a:rPr>
              <a:t>PR2</a:t>
            </a:r>
            <a:endParaRPr lang="en-US" sz="1000" dirty="0">
              <a:latin typeface="VWAG TheSans" panose="020B0502050302020203" pitchFamily="34" charset="0"/>
              <a:cs typeface="Arial" panose="020B0604020202020204" pitchFamily="34" charset="0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488504" y="1916832"/>
            <a:ext cx="7881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dirty="0">
                <a:latin typeface="+mj-lt"/>
              </a:rPr>
              <a:t>Volume</a:t>
            </a:r>
            <a:br>
              <a:rPr lang="en-US" altLang="zh-CN" sz="1000" dirty="0">
                <a:latin typeface="+mj-lt"/>
              </a:rPr>
            </a:br>
            <a:r>
              <a:rPr lang="en-US" altLang="zh-CN" sz="1000" dirty="0">
                <a:latin typeface="+mj-lt"/>
              </a:rPr>
              <a:t>(in </a:t>
            </a:r>
            <a:r>
              <a:rPr lang="en-US" altLang="zh-CN" sz="1000" dirty="0" smtClean="0">
                <a:latin typeface="+mj-lt"/>
              </a:rPr>
              <a:t>Mio.)</a:t>
            </a:r>
            <a:endParaRPr lang="en-US" altLang="zh-CN" sz="1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661460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2883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32" name="think-cell Slide" r:id="rId61" imgW="470" imgH="469" progId="TCLayout.ActiveDocument.1">
                  <p:embed/>
                </p:oleObj>
              </mc:Choice>
              <mc:Fallback>
                <p:oleObj name="think-cell Slide" r:id="rId61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kumimoji="0" lang="en-US" sz="8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6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89" name="Chart 88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38638679"/>
              </p:ext>
            </p:extLst>
          </p:nvPr>
        </p:nvGraphicFramePr>
        <p:xfrm>
          <a:off x="1136650" y="2482850"/>
          <a:ext cx="8431213" cy="304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sp>
        <p:nvSpPr>
          <p:cNvPr id="29" name="Rectangle 28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492500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F97A524-C5E8-4CC5-978A-E582C261672D}" type="datetime'''''4'''''',''''''''''''''''''''''''''''''00''''''0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425575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CF302FC-4463-47EB-B7D2-259444891C2D}" type="datetime'''''''''''''''''4'''''''''',''''''0''''''''0''''''0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624763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473B1F-147C-4AB1-833C-F8DA974EC3CD}" type="datetime'''''''4'''''''''''''''''''',''0''0''''''0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4181475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BE7A58C-9942-4139-9E14-ACDCA0C94913}" type="datetime'''''''''''4'''''',''''0''0''''''''''0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560763" y="383540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B162954-8930-41D5-9765-223E9C63E041}" type="datetime'''''''''''''''''''''''''''''8''''''''0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376363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E8B4F1B-9C75-45E6-B800-E7897BE00986}" type="datetime'''20.''''''''''''''''''''''''''''''''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589838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6320832-EF00-4114-A1A3-9AE6D8F1EC4A}" type="datetime'''''''''''''4,''''''''''''''''''''1''''''''''''''4''''''''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4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03525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AA6FF75-99F0-423E-B0EA-B4BDCCDDE85B}" type="datetime'''''''''''4'''',''''''''0''''''''''''''''0''0''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114550" y="4613275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E161BFA-8A34-4AB0-AAC1-9FD3F8B4FA49}" type="datetime'4'''',''''''0''''''''''''''''0''''''''''''''''''0'''''''">
              <a:rPr lang="en-US" altLang="en-US" sz="8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8986839" y="3757613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ECEFACB-3A86-4A8C-A867-6573EFB226E0}" type="datetime'''1''''''''6''''''''''0''''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60</a:t>
            </a:fld>
            <a: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800" b="1" smtClean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(</a:t>
            </a:r>
            <a:fld id="{4D19A480-F61C-4FBD-9561-0CEF937AE79B}" type="datetime'''3''''''''''''''''.8''%''''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.8%</a:t>
            </a:fld>
            <a:r>
              <a:rPr lang="en-US" altLang="en-US" sz="800" b="1" smtClean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2182813" y="3832225"/>
            <a:ext cx="139700" cy="133350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D5B1E0E-8765-4848-B213-14634CE0EE62}" type="datetime'''''''''''''''''''''''''''''''''''''6''''''0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spcAft>
                  <a:spcPct val="0"/>
                </a:spcAft>
              </a:pPr>
              <a:t>6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900863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03F9A6E-48F7-4844-A978-17CD2D287C7F}" type="datetime'''''''''''''''4'''''''''''''',''1''''''''3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3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288088" y="3827463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B1E4F65-59A8-4E77-A294-2727504D28AC}" type="datetime'''''''''''''''''''''''''''1''''''''''''''''''2''''0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2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065338" y="231775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5F5183B-A539-4A45-A67B-595BFF9B8BAB}" type="datetime'''''2''0''.''''''''''''''''''''''0''''%''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0.0%</a:t>
            </a:fld>
            <a:endParaRPr lang="en-US" sz="1000" b="1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1493838" y="3841750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DAFDBDA-04D2-49EA-8860-AE55451987EC}" type="datetime'''''''''''''''''''''''''''''''''''''5''''''0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754313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B8C1771-6359-4A1C-B638-733EF02D50B6}" type="datetime'''''''''''20''.''''''0''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871788" y="3836988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F950B4D-26D2-4218-975A-DA510216D825}" type="datetime'''''''7''''''''''''''''''''''''''''0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443288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A7420DA-4486-474C-983E-9878299B5014}" type="datetime'''''''2''0''''''''''''.''''''''''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132263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0AAD2DF-781F-4FF1-A923-0B5D1343DCA5}" type="datetime'2''''0''''''''''''''''''''''''''''.''''''''''''''''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211888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E238802-12BB-4D8B-B13E-ACC3B9213EA5}" type="datetime'''4'''',''''''''''''''1''''2''''''''0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2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4249738" y="3833813"/>
            <a:ext cx="139700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EF19375-6F37-4136-90A8-A2386A857551}" type="datetime'9''0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4821238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2D3DB93-4900-4DA9-A6DD-88CEA98FAFC8}" type="datetime'''''''2''''0''.''''''''''''''''''''''''''''''''''''''''''''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4911725" y="3830638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DDEFC74-2161-4A8C-BD97-06571028EA67}" type="datetime'1''''''''''''''''''''''0''''0''''''''''''''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5557838" y="4613275"/>
            <a:ext cx="277813" cy="13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7ADA30B3-23E2-4DAB-88F6-6CBB5993B186}" type="datetime'''''''''''''''4'''''''',''''''0''0''''''''''''0'''''''''''''''">
              <a:rPr lang="en-US" altLang="en-US" sz="8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4870450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4DC431A-3FE6-49A6-8ED0-D0C6D1A385F4}" type="datetime'''''''''4,''''''''''0''00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5508625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EA940B5-F048-4E49-912E-3499D1BEBFC1}" type="datetime'''''''''''20''''.''''''''''''''''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5541964" y="3767138"/>
            <a:ext cx="307975" cy="24447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10D72BD-2AAF-462C-9E68-0BB0BDB6582A}" type="datetime'11''''0''''''''''''''''''''''''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10</a:t>
            </a:fld>
            <a: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/>
            </a:r>
            <a:br>
              <a:rPr lang="en-US" altLang="en-US" sz="8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</a:br>
            <a:r>
              <a:rPr lang="en-US" altLang="en-US" sz="800" b="1" smtClean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(</a:t>
            </a:r>
            <a:fld id="{2A5EF185-002A-42F0-9B36-7D878E38EE62}" type="datetime'''''''''''''''2''''''''.7%''''''''''''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.7%</a:t>
            </a:fld>
            <a:r>
              <a:rPr lang="en-US" altLang="en-US" sz="800" b="1" smtClean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rPr>
              <a:t>)</a:t>
            </a:r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8278813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F313B46-8197-4E21-B437-B67AD4555B0D}" type="datetime'''''''''''''4,1''''''''''''''''''''''''''''''''''''''''''5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6197600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ADA4DEC-B7D1-4E8E-B4BE-30D14EB6BB9B}" type="datetime'''''2''''''''''''''''''''''''''''''''''''''0''.''''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6246813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216DD9D-BCC3-4ADE-AE37-8146A3CC3DD4}" type="datetime'''''4'''''''',''''''''''0''''0''''''''''''''''''0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6886575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307BE90-F607-44C0-8D1A-D12C6126E714}" type="datetime'20''''''''''''''''.''''''''''''''''0'''''''''''"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8264525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ED8922A-81B3-416F-92C0-7A61A2EE6A4B}" type="datetime'2''0''''''.''''''''''''''''''0''''''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6977063" y="3825875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26D58B-AD80-447F-B13F-250B52E0D416}" type="datetime'''''''''''''''''''''''''''''''''''''13''''''''''''0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3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6935788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BD966E8-D6C5-4E39-9519-3C8EB1203DAF}" type="datetime'''4'''',''''''0''''''''''''''0''''''''''0''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4835525" y="36782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F9CE6DD-9F32-423F-A446-364A5746718D}" type="datetime'''''''''''4'''''''''''''''''''''''',1''''0''''0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0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457575" y="36798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2CDDBBA-795B-45CF-8566-2524C8843DAD}" type="datetime'''4'''''''''''''''''''',''''''''''08''''0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8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7666038" y="3824288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8B80F96-BCD7-4CAA-9D38-8CC16BA9FDA1}" type="datetime'''''''''''''''''''''1''''''''4''''''0'''''''''''''''''''">
              <a:rPr lang="en-US" altLang="en-US" sz="800" b="1" smtClean="0">
                <a:solidFill>
                  <a:srgbClr val="FFFFFF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40</a:t>
            </a:fld>
            <a:endParaRPr lang="en-US" sz="800" b="1" dirty="0">
              <a:solidFill>
                <a:srgbClr val="FFFFFF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522913" y="36147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00E3EFD-5075-4731-9383-A167DD16FF9A}" type="datetime'''''''''4'''''''''''''''''',''''''''''''''''1''1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1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8355013" y="3821113"/>
            <a:ext cx="195263" cy="12223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1FF6E11-9434-4B2F-B93E-930E0BCA376D}" type="datetime'''''''''''''''''1''''''''''''''''''''''''''''''''''''50'''">
              <a:rPr lang="en-US" altLang="en-US" sz="800" b="1" smtClean="0">
                <a:solidFill>
                  <a:schemeClr val="bg1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50</a:t>
            </a:fld>
            <a:endParaRPr lang="en-US" sz="800" b="1" dirty="0">
              <a:solidFill>
                <a:schemeClr val="bg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8313738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152C2D03-B4F7-45C3-8334-A1B066F64A57}" type="datetime'''''4'''',''''''''''''''''''''''''''''0''0''''''0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8953500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9F49913-1C80-4CEB-BF57-29E352DF0EEF}" type="datetime'''''''''''''''''''''''''''''''''''''''''''2''0''''.0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7575550" y="233362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6743FC2-4BD8-4889-A3AC-A99AAD6C64B3}" type="datetime'''''2''''''''''0''''.''''0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20.0</a:t>
            </a:fld>
            <a:r>
              <a:rPr lang="en-US" altLang="en-US" sz="10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t>%</a:t>
            </a:r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9002713" y="4619625"/>
            <a:ext cx="2778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D9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E6BD5B5E-392F-4C49-B3C1-A2B50BE43446}" type="datetime'''''''4,''''''''''''''''0''''''''''''00'''''''''''''''''''''">
              <a:rPr lang="en-US" altLang="en-US" sz="800" b="1" smtClean="0"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00</a:t>
            </a:fld>
            <a:endParaRPr lang="en-US" sz="8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1390650" y="36893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1F8C42A-A3A5-4659-9AE7-D6FF9737EFDD}" type="datetime'4'''''''''',''''''''''''''0''50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5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2079625" y="3663950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31F8EEE-411E-4BCA-B179-3BDF5E6B1C78}" type="datetime'''''''4,''''''06''''0'''''">
              <a:rPr lang="en-US" altLang="en-US" sz="1000" b="1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4,060</a:t>
            </a:fld>
            <a:endParaRPr lang="en-US" sz="10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2768600" y="36798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B0AD934F-EE08-436F-8AA8-1CFB0FA50079}" type="datetime'''''4,0''''''''7''0''''''''''''''''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7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4146550" y="367982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13CAE34-1FE6-4544-B7D7-EE0D74B16CF3}" type="datetime'''''''''''''''''''''''''4'',''0''''''''''9''''''''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09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8967788" y="3605213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5A1C2FF-E41C-4F78-91CE-FAC382E0D992}" type="datetime'4'''''''',''''''''''''1''''''''''''6''''''''''''''''''''0'''''">
              <a:rPr lang="en-US" altLang="en-US" sz="1000" b="1" smtClean="0">
                <a:solidFill>
                  <a:srgbClr val="000000"/>
                </a:solidFill>
                <a:ea typeface="+mj-ea"/>
                <a:cs typeface="+mj-cs"/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,160</a:t>
            </a:fld>
            <a:endParaRPr lang="en-US" sz="10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0" name="Rectangle 69"/>
          <p:cNvSpPr/>
          <p:nvPr>
            <p:custDataLst>
              <p:tags r:id="rId53"/>
            </p:custDataLst>
          </p:nvPr>
        </p:nvSpPr>
        <p:spPr bwMode="auto">
          <a:xfrm>
            <a:off x="566738" y="3319463"/>
            <a:ext cx="142875" cy="106363"/>
          </a:xfrm>
          <a:prstGeom prst="rect">
            <a:avLst/>
          </a:prstGeom>
          <a:solidFill>
            <a:srgbClr val="007770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54"/>
            </p:custDataLst>
          </p:nvPr>
        </p:nvCxnSpPr>
        <p:spPr bwMode="auto">
          <a:xfrm>
            <a:off x="536575" y="3198813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Rectangle 70"/>
          <p:cNvSpPr/>
          <p:nvPr>
            <p:custDataLst>
              <p:tags r:id="rId55"/>
            </p:custDataLst>
          </p:nvPr>
        </p:nvSpPr>
        <p:spPr bwMode="auto">
          <a:xfrm>
            <a:off x="566738" y="3492500"/>
            <a:ext cx="142875" cy="106363"/>
          </a:xfrm>
          <a:prstGeom prst="rect">
            <a:avLst/>
          </a:prstGeom>
          <a:solidFill>
            <a:srgbClr val="C0D9E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2" name="Oval 71"/>
          <p:cNvSpPr/>
          <p:nvPr>
            <p:custDataLst>
              <p:tags r:id="rId56"/>
            </p:custDataLst>
          </p:nvPr>
        </p:nvSpPr>
        <p:spPr bwMode="auto">
          <a:xfrm>
            <a:off x="582613" y="3173413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760413" y="3141663"/>
            <a:ext cx="2190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D4966FAF-D5A8-4B33-BE9B-741CCF618F5F}" type="datetime'M''''''''''''''''''''''''''''S''''''''''''''''''%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MS%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760413" y="3487738"/>
            <a:ext cx="138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E829D29B-151D-41B2-B8AE-4EC31DDF71F4}" type="datetime'''''''''''I''''''''''C''''''''E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ICE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auto">
          <a:xfrm>
            <a:off x="760413" y="3314700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5C744EC7-2293-473F-97E3-06C8268B9D19}" type="datetime'''''''''''''N''''''''''''E''''''''V'''''''''''''''''''''">
              <a:rPr lang="en-US" altLang="en-US" sz="800" b="1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+mj-lt"/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</a:t>
            </a:fld>
            <a:endParaRPr lang="en-US" sz="800" b="1" dirty="0">
              <a:solidFill>
                <a:srgbClr val="000000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4170091"/>
              </p:ext>
            </p:extLst>
          </p:nvPr>
        </p:nvGraphicFramePr>
        <p:xfrm>
          <a:off x="391881" y="5661248"/>
          <a:ext cx="9122228" cy="685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10477447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MS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19A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 smtClean="0">
                          <a:effectLst/>
                          <a:latin typeface="+mj-lt"/>
                        </a:rPr>
                        <a:t>2030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V MKT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CE MKT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401638" y="2733155"/>
            <a:ext cx="655984" cy="3694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</a:t>
            </a:r>
            <a:r>
              <a:rPr lang="en-US" sz="800" b="1" dirty="0">
                <a:solidFill>
                  <a:srgbClr val="000000"/>
                </a:solidFill>
                <a:latin typeface="VWAG TheSans"/>
              </a:rPr>
              <a:t>units</a:t>
            </a:r>
          </a:p>
        </p:txBody>
      </p:sp>
    </p:spTree>
    <p:extLst>
      <p:ext uri="{BB962C8B-B14F-4D97-AF65-F5344CB8AC3E}">
        <p14:creationId xmlns:p14="http://schemas.microsoft.com/office/powerpoint/2010/main" val="3656897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3836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56" name="think-cell Slide" r:id="rId55" imgW="470" imgH="469" progId="TCLayout.ActiveDocument.1">
                  <p:embed/>
                </p:oleObj>
              </mc:Choice>
              <mc:Fallback>
                <p:oleObj name="think-cell Slide" r:id="rId55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ct val="110000"/>
              </a:lnSpc>
              <a:spcBef>
                <a:spcPct val="0"/>
              </a:spcBef>
            </a:pPr>
            <a:endParaRPr kumimoji="0" lang="en-US" sz="1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7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1" name="Rectangle 80"/>
          <p:cNvSpPr/>
          <p:nvPr/>
        </p:nvSpPr>
        <p:spPr bwMode="auto">
          <a:xfrm>
            <a:off x="2707822" y="4158901"/>
            <a:ext cx="598488" cy="203204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/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6462023"/>
              </p:ext>
            </p:extLst>
          </p:nvPr>
        </p:nvGraphicFramePr>
        <p:xfrm>
          <a:off x="391880" y="3667327"/>
          <a:ext cx="9111347" cy="26742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670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55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1878494411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534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783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Vol.</a:t>
                      </a:r>
                      <a:r>
                        <a:rPr lang="en-US" sz="800" u="none" strike="noStrike" baseline="0" dirty="0" smtClean="0">
                          <a:effectLst/>
                          <a:latin typeface="+mj-lt"/>
                        </a:rPr>
                        <a:t>  by </a:t>
                      </a:r>
                      <a:r>
                        <a:rPr lang="en-US" sz="800" u="none" strike="noStrike" kern="1200" dirty="0" smtClean="0">
                          <a:effectLst/>
                          <a:latin typeface="+mj-lt"/>
                        </a:rPr>
                        <a:t>Brand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792" marR="8792" marT="8792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034" marR="7034" marT="7034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+mj-lt"/>
                        </a:rPr>
                        <a:t>203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indent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VW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udi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4947213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55753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koda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3639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41322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Jetta</a:t>
                      </a:r>
                    </a:p>
                  </a:txBody>
                  <a:tcPr marT="586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892748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9829066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800" b="1" kern="1200" dirty="0" err="1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ihao</a:t>
                      </a: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2019-23</a:t>
                      </a: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) /</a:t>
                      </a:r>
                      <a:r>
                        <a:rPr lang="en-US" sz="800" b="1" kern="1200" dirty="0" err="1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upra</a:t>
                      </a: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(2023-30</a:t>
                      </a: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T="586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258135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9027295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Other FBU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0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0307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WAG TheSans" panose="020B0502050302020203" pitchFamily="34" charset="0"/>
                        </a:rPr>
                        <a:t>10%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2136691"/>
                  </a:ext>
                </a:extLst>
              </a:tr>
            </a:tbl>
          </a:graphicData>
        </a:graphic>
      </p:graphicFrame>
      <p:cxnSp>
        <p:nvCxnSpPr>
          <p:cNvPr id="183" name="Straight Connector 182"/>
          <p:cNvCxnSpPr/>
          <p:nvPr>
            <p:custDataLst>
              <p:tags r:id="rId4"/>
            </p:custDataLst>
          </p:nvPr>
        </p:nvCxnSpPr>
        <p:spPr bwMode="white">
          <a:xfrm>
            <a:off x="1330325" y="1898650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3" name="Straight Connector 302"/>
          <p:cNvCxnSpPr/>
          <p:nvPr>
            <p:custDataLst>
              <p:tags r:id="rId5"/>
            </p:custDataLst>
          </p:nvPr>
        </p:nvCxnSpPr>
        <p:spPr bwMode="white">
          <a:xfrm>
            <a:off x="1330325" y="3255963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2" name="Straight Connector 181"/>
          <p:cNvCxnSpPr/>
          <p:nvPr>
            <p:custDataLst>
              <p:tags r:id="rId6"/>
            </p:custDataLst>
          </p:nvPr>
        </p:nvCxnSpPr>
        <p:spPr bwMode="white">
          <a:xfrm>
            <a:off x="1330325" y="2389188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6" name="Straight Connector 305"/>
          <p:cNvCxnSpPr/>
          <p:nvPr>
            <p:custDataLst>
              <p:tags r:id="rId7"/>
            </p:custDataLst>
          </p:nvPr>
        </p:nvCxnSpPr>
        <p:spPr bwMode="white">
          <a:xfrm>
            <a:off x="1330325" y="2144713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0" name="Straight Connector 179"/>
          <p:cNvCxnSpPr/>
          <p:nvPr>
            <p:custDataLst>
              <p:tags r:id="rId8"/>
            </p:custDataLst>
          </p:nvPr>
        </p:nvCxnSpPr>
        <p:spPr bwMode="white">
          <a:xfrm>
            <a:off x="1330325" y="3500438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" name="Straight Connector 306"/>
          <p:cNvCxnSpPr/>
          <p:nvPr>
            <p:custDataLst>
              <p:tags r:id="rId9"/>
            </p:custDataLst>
          </p:nvPr>
        </p:nvCxnSpPr>
        <p:spPr bwMode="white">
          <a:xfrm>
            <a:off x="1330325" y="1654175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1" name="Straight Connector 180"/>
          <p:cNvCxnSpPr/>
          <p:nvPr>
            <p:custDataLst>
              <p:tags r:id="rId10"/>
            </p:custDataLst>
          </p:nvPr>
        </p:nvCxnSpPr>
        <p:spPr bwMode="white">
          <a:xfrm>
            <a:off x="1330325" y="3009900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/>
          <p:cNvCxnSpPr/>
          <p:nvPr>
            <p:custDataLst>
              <p:tags r:id="rId11"/>
            </p:custDataLst>
          </p:nvPr>
        </p:nvCxnSpPr>
        <p:spPr bwMode="white">
          <a:xfrm>
            <a:off x="1330324" y="2635250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>
            <p:custDataLst>
              <p:tags r:id="rId12"/>
            </p:custDataLst>
          </p:nvPr>
        </p:nvCxnSpPr>
        <p:spPr bwMode="white">
          <a:xfrm>
            <a:off x="1330324" y="2879725"/>
            <a:ext cx="587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68" name="Chart 67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77577051"/>
              </p:ext>
            </p:extLst>
          </p:nvPr>
        </p:nvGraphicFramePr>
        <p:xfrm>
          <a:off x="1306513" y="1571625"/>
          <a:ext cx="8272462" cy="201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 useBgFill="1">
        <p:nvSpPr>
          <p:cNvPr id="15" name="Freeform 14"/>
          <p:cNvSpPr/>
          <p:nvPr>
            <p:custDataLst>
              <p:tags r:id="rId14"/>
            </p:custDataLst>
          </p:nvPr>
        </p:nvSpPr>
        <p:spPr bwMode="auto">
          <a:xfrm>
            <a:off x="1316038" y="2897188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Freeform 7"/>
          <p:cNvSpPr/>
          <p:nvPr>
            <p:custDataLst>
              <p:tags r:id="rId15"/>
            </p:custDataLst>
          </p:nvPr>
        </p:nvSpPr>
        <p:spPr bwMode="auto">
          <a:xfrm>
            <a:off x="1316038" y="2897188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Freeform 8"/>
          <p:cNvSpPr/>
          <p:nvPr>
            <p:custDataLst>
              <p:tags r:id="rId16"/>
            </p:custDataLst>
          </p:nvPr>
        </p:nvSpPr>
        <p:spPr bwMode="auto">
          <a:xfrm>
            <a:off x="1316038" y="2954338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7" name="Rectangle 23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1433513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1E7187-9210-49C5-B241-CE6E1C5C6030}" type="datetime'''1''''''''''''0''''''''''.''''''''''''''0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79" name="Rectangle 27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14335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C7604BA-64CD-4781-8E3A-C0E91F06E094}" type="datetime'''''2''''''''.0%''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3" name="Rectangle 35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14335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6FE822E-48D7-4402-9396-F661956FCA11}" type="datetime'''''1''''''''''''''''''''''''''''''''.''''''''0''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38" name="Rectangle 23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941513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16187EE-327A-4C76-80D0-AA449E03015E}" type="datetime'''''1''''''''0.''''''''''''''''0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88" name="Rectangle 287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78724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31BF2BE-61FC-47C8-8AAD-FD625753C963}" type="datetime'2''.''''0''''''''''%''''''''''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0" name="Rectangle 27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976438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97666A5-9BE4-4C26-B1FD-3F8EF458A164}" type="datetime'''''''''2.''0''''''''''''''''''''''''%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0" name="Rectangle 239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416300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80FA23A-6937-4B7F-8498-880E2634E621}" type="datetime'''''1''''''''''0''''''.''0''''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7" name="Rectangle 356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1976438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107F7F4-0EE9-4E86-93FC-F032209A8882}" type="datetime'''''''1''''''''''.''0''''''''''''''''''''''''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1" name="Rectangle 28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2714625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9FEAC3E-6816-484D-A344-4776B618AF7E}" type="datetime'''''2''''.''0''''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6" name="Rectangle 355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9347200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14A5B7B-9531-47C5-83F5-AA14BD052CE4}" type="datetime'''''''1''''''''''.''''''''''''''''''''''0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2" name="Rectangle 28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3451225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36CA80C-E672-44C0-A4A6-447F43C7FCC0}" type="datetime'''''''''''''''''''''''''''''''''''2''''''''.''''0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8" name="Rectangle 35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2714625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5CFBA02-B6F3-41FB-9852-F515CB61A235}" type="datetime'''''1''''.0''''''''''''''''''''%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4" name="Rectangle 35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63992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E1C5E07-6BFC-4AEA-A49F-8882B1038554}" type="datetime'''''''''''1.''''''''''''''0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59" name="Rectangle 35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3451225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6A8A057-FDEB-459B-8743-518BDD6A902D}" type="datetime'''''''''''''''''''''''''''''1.''''0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1" name="Rectangle 24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152900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813623-DBA9-4AC6-822F-03E297D50004}" type="datetime'1''''''''''''0''''''.''''''0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4" name="Rectangle 36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78724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4FD1E52-0729-439C-9AB5-28405C140156}" type="datetime'''''''1.''0''''''''''''''''%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4" name="Rectangle 28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4187825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2C22922-82E8-44DD-AA49-C513E5F09BC4}" type="datetime'''''2''''''''''''''''''''''''''''.''0''''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6" name="Rectangle 245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7837488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00145E7-5B4A-46D7-BA33-8EF2016771DA}" type="datetime'''1''''''''''0.0''%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5" name="Rectangle 354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187825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DDA7C67C-10A4-48BF-B5F5-05816A0D3FDA}" type="datetime'''''''''''''''''''''''1''''.''''''0''%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2" name="Rectangle 241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889500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5CBC9A-D42A-4BCC-A1EA-C98DE0702A39}" type="datetime'''''''''''10''''''''.''''''''''''''0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86" name="Rectangle 285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56626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700FE2F-C80E-4110-AEEF-81CB4E369721}" type="datetime'''2''''''''''.''''0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5" name="Rectangle 284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924425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19821FC-101D-4A86-BFD3-38264705AECE}" type="datetime'''''''''''''''''''2''''''''''''.''''0''%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3" name="Rectangle 24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5627688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ACAF9D1-D6F6-4291-9C27-3D65AF61FB84}" type="datetime'''''1''''0''''''''''''''''.''''''''''''''''''''''''0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8" name="Rectangle 247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9312275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5FD41FD-E28C-47EC-974D-869DC39C783B}" type="datetime'''''''1''0.''''''''''''''''0''%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3" name="Rectangle 36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56626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3AEB5F-647B-4AB4-B693-0EDF92113905}" type="datetime'''''''''''''1''''''.''''''''''0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4" name="Rectangle 243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6364288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E9BF9C7-381C-4798-8BCF-755514CA8BF9}" type="datetime'''1''0''''''''''''.0''''''''''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87" name="Rectangle 286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63992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205815B-6008-46B4-B612-5DFA7CAA5A9C}" type="datetime'''''''''''''''2''''''''''''''''.0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5" name="Rectangle 244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7100888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03CC7F1-F1BC-4120-8B99-D822E45374A1}" type="datetime'''''''''''''''''''''1''''''''''''''''''0''''''.''''0''%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 useBgFill="1">
        <p:nvSpPr>
          <p:cNvPr id="283" name="Rectangle 282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7135813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BE3A52-BED7-44AC-AE41-B3C4CA1736DE}" type="datetime'''''''2''''''''''''''''''.''0''''''''''%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61" name="Rectangle 360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7135813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3672360-ABEC-4956-8E8B-A1CD69149329}" type="datetime'''''''''1''''''''''.0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89" name="Rectangle 288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8610600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B3582E3-57FD-4A87-BE12-D195BB1678D9}" type="datetime'''''''''2''''''''''''.0''''''''''''''''''''''%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362" name="Rectangle 361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8610600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2FA370F-AD33-4875-84AB-3FF46977AA14}" type="datetime'1''''''''''''.''0''''''''''''''''%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 useBgFill="1">
        <p:nvSpPr>
          <p:cNvPr id="290" name="Rectangle 289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9347200" y="2782888"/>
            <a:ext cx="298450" cy="168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56A21AD-E344-459A-A60C-28CA32A894A1}" type="datetime'''''''''''''2.0''%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2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39" name="Rectangle 238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2679700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4C475C3-9B84-45AC-B0D4-7ABE9A3E83C7}" type="datetime'''''''''''10.''''''''''''''''0%''''''''''''''''''''''''''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0" name="Rectangle 359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4924425" y="3028950"/>
            <a:ext cx="2984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D2CBC42-4C02-472D-A9F2-AD83E27BDAF2}" type="datetime'''''''1.''''''''''''''''''''''''''''''0''''''''%''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.0%</a:t>
            </a:fld>
            <a:endParaRPr lang="en-US" sz="1000" noProof="0" dirty="0" smtClean="0"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247" name="Rectangle 246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8575675" y="2652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352D20B7-B449-4D41-9004-B4F2816BDEC3}" type="datetime'''1''''''0''.0''''''''''''''''''%'''">
              <a:rPr lang="en-US" altLang="en-US" sz="1000" smtClean="0">
                <a:ea typeface="+mj-ea"/>
                <a:cs typeface="+mj-cs"/>
              </a:rPr>
              <a:pPr algn="ctr">
                <a:spcAft>
                  <a:spcPct val="0"/>
                </a:spcAft>
              </a:pPr>
              <a:t>10.0%</a:t>
            </a:fld>
            <a:endParaRPr lang="en-US" sz="1000" noProof="0" dirty="0" smtClean="0">
              <a:latin typeface="+mj-lt"/>
              <a:ea typeface="+mj-ea"/>
              <a:cs typeface="+mj-cs"/>
              <a:sym typeface="+mj-lt"/>
            </a:endParaRPr>
          </a:p>
        </p:txBody>
      </p:sp>
      <p:pic>
        <p:nvPicPr>
          <p:cNvPr id="345" name="Picture 134" descr="image002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447" y="1582739"/>
            <a:ext cx="360816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6" name="Grafik 4"/>
          <p:cNvPicPr>
            <a:picLocks noChangeAspect="1"/>
          </p:cNvPicPr>
          <p:nvPr/>
        </p:nvPicPr>
        <p:blipFill rotWithShape="1"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36" t="5669" r="19051" b="31943"/>
          <a:stretch/>
        </p:blipFill>
        <p:spPr>
          <a:xfrm>
            <a:off x="1071121" y="2992394"/>
            <a:ext cx="301625" cy="301625"/>
          </a:xfrm>
          <a:prstGeom prst="rect">
            <a:avLst/>
          </a:prstGeom>
        </p:spPr>
      </p:pic>
      <p:pic>
        <p:nvPicPr>
          <p:cNvPr id="347" name="Grafik 3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17" y="2557434"/>
            <a:ext cx="504364" cy="26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32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19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780" name="think-cell Slide" r:id="rId36" imgW="470" imgH="469" progId="TCLayout.ActiveDocument.1">
                  <p:embed/>
                </p:oleObj>
              </mc:Choice>
              <mc:Fallback>
                <p:oleObj name="think-cell Slide" r:id="rId3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8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3967905"/>
              </p:ext>
            </p:extLst>
          </p:nvPr>
        </p:nvGraphicFramePr>
        <p:xfrm>
          <a:off x="420684" y="3890798"/>
          <a:ext cx="9069390" cy="246580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154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5449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102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u="none" strike="noStrike" baseline="0" dirty="0" smtClean="0">
                          <a:effectLst/>
                          <a:latin typeface="+mn-lt"/>
                        </a:rPr>
                        <a:t> Vol. by Brand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2019A</a:t>
                      </a:r>
                      <a:endParaRPr lang="en-US" sz="800" b="1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0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1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2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3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4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5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6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7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8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</a:rPr>
                        <a:t>2029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 smtClean="0">
                          <a:effectLst/>
                          <a:latin typeface="+mn-lt"/>
                        </a:rPr>
                        <a:t>2030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latin typeface="+mn-lt"/>
                        </a:rPr>
                        <a:t>VW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8109200"/>
                  </a:ext>
                </a:extLst>
              </a:tr>
              <a:tr h="213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latin typeface="+mn-lt"/>
                        </a:rPr>
                        <a:t>Audi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2133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latin typeface="+mn-lt"/>
                        </a:rPr>
                        <a:t>Skoda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  <a:tr h="3352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800" b="1" kern="1200" dirty="0" err="1" smtClean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Sihao</a:t>
                      </a: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 (2019-23) /</a:t>
                      </a:r>
                      <a:r>
                        <a:rPr lang="en-US" sz="800" b="1" kern="1200" dirty="0" err="1" smtClean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Cupra</a:t>
                      </a:r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VWAG TheSans"/>
                          <a:ea typeface="+mn-ea"/>
                          <a:cs typeface="+mn-cs"/>
                        </a:rPr>
                        <a:t> (2023-30)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VWAG TheSans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75518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 FBU</a:t>
                      </a:r>
                      <a:endParaRPr lang="en-US" sz="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0499929"/>
                  </a:ext>
                </a:extLst>
              </a:tr>
              <a:tr h="21333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811791"/>
                  </a:ext>
                </a:extLst>
              </a:tr>
            </a:tbl>
          </a:graphicData>
        </a:graphic>
      </p:graphicFrame>
      <p:graphicFrame>
        <p:nvGraphicFramePr>
          <p:cNvPr id="47" name="Chart 46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8262210"/>
              </p:ext>
            </p:extLst>
          </p:nvPr>
        </p:nvGraphicFramePr>
        <p:xfrm>
          <a:off x="1501775" y="1662113"/>
          <a:ext cx="8070850" cy="231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3" name="Straight Connector 2"/>
          <p:cNvCxnSpPr/>
          <p:nvPr>
            <p:custDataLst>
              <p:tags r:id="rId5"/>
            </p:custDataLst>
          </p:nvPr>
        </p:nvCxnSpPr>
        <p:spPr bwMode="auto">
          <a:xfrm>
            <a:off x="7183438" y="2797175"/>
            <a:ext cx="0" cy="31115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4" name="Rectangle 15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760538" y="3227388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8D7C7B3-0323-4CEA-B46D-B097AB9BB1B2}" type="datetime'''''''''5''''''''''''''''''''''.''''''0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5" name="Rectangle 14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702050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8A737B2-5F82-4E6F-A799-463860C952EF}" type="datetime'1''''''0''''.''''''''0''''''''''''''''''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1" name="Rectangle 14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384425" y="278130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9531E75-8AAB-48C9-AF4D-97977658E5FD}" type="datetime'''''''''''''''''''''1''''''''0''''''.''''''0''''''''%'''">
              <a:rPr lang="en-US" altLang="en-US" sz="1000" b="1" smtClean="0"/>
              <a:pPr algn="ctr">
                <a:spcAft>
                  <a:spcPct val="0"/>
                </a:spcAft>
              </a:pPr>
              <a:t>10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4360863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5FE2834-36D6-4545-994E-E95669734EED}" type="datetime'''1''''''''''''0.''''''''0''''''''''%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4" name="Rectangle 14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043238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216DCA9-BDE5-4B5D-8934-296D43364CD3}" type="datetime'''''''1''''''''''''0.''''''''''''''0''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161" name="Rectangle 16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654925" y="2797175"/>
            <a:ext cx="37465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276EF13-CE08-456C-93D1-E2C5637A58BB}" type="datetime'''''1''''''''''''''''''''''''''''''''''''''''0.0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0" name="Rectangle 14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019675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47AF17F6-7E86-4D49-A147-367D7B128AE8}" type="datetime'''1''''''''0''''''''''''.0''''''''''''''''''''''%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678488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61BBC2C-DDDD-4A13-A180-263DF4B4890D}" type="datetime'''''1''''''''''0''''.''''''''0''''''%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5" name="Rectangle 15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337300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A769CE7-D342-49CD-A450-922AE52CBFA6}" type="datetime'''''''''''1''0''''.''''''''0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0" name="Rectangle 15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6996113" y="27971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A6BD963-96A0-44C2-BCC6-75C332254FE4}" type="datetime'''''''''''1''0''.''''0''''%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0" name="Rectangle 13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425950" y="32845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FF7D954-4A6D-4D35-8808-ACC9394A7F26}" type="datetime'''''''''''''''''''''8''''''''''''''''''''''''''''''0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8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163" name="Rectangle 16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8313738" y="2797175"/>
            <a:ext cx="37465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4B99FBA-FA6E-492B-A4DE-2FB559793769}" type="datetime'''''''''''''''10''''''''''''''''''''''.''''0''%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152" name="Rectangle 15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138863" y="2962275"/>
            <a:ext cx="347663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14CE39A-F99E-4D17-9B26-8D89FA870260}" type="datetime'1'''''',4''''''''''''''''''''''0''''''''0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4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4" name="Rectangle 16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972550" y="2781300"/>
            <a:ext cx="374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8D0D31C-FB0D-442A-9DE5-39DBD4F21EBA}" type="datetime'''''''''1''''''0''''.''0''''%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0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6" name="Rectangle 165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825625" y="3686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E10E52D-A2F9-4902-8673-7A5430A94E85}" type="datetime'''''''''''''''''''''''''''''''''5''''''0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7" name="Rectangle 16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449513" y="3589338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9F1D0D26-6928-4B02-90F2-40F607EFF23F}" type="datetime'2''''''''''''0''''''''''''''''''''''''''''''''''''''''''0'''">
              <a:rPr lang="en-US" altLang="en-US" sz="1000" b="1" smtClean="0"/>
              <a:pPr algn="ctr">
                <a:spcAft>
                  <a:spcPct val="0"/>
                </a:spcAft>
              </a:pPr>
              <a:t>200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108325" y="34988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125767C-0846-4EF8-8156-B7F99673B3F6}" type="datetime'''''''''''''4''''''0''''0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8" name="Rectangle 16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767138" y="33909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A71A285-B069-4F05-9223-9A29793FE8CD}" type="datetime'''''6''''''''''''''''''''''''''''0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3" name="Rectangle 14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033963" y="317658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A5D90299-5B59-44D6-8B30-A2E0C355088D}" type="datetime'''''''''1,0''''''0''''''''''0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69" name="Rectangle 16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692775" y="3068638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28BB8B7-5E0E-474A-BFD6-1DCE33BDAD46}" type="datetime'''''''1'''''',''2''''''''''0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2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70" name="Rectangle 16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8328025" y="2624138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2DFB238-5094-488E-BAEB-56B47357D2DB}" type="datetime'''''''2'''''''',''''''''''''''0''0''''''''''0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2,0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56" name="Rectangle 155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10400" y="2644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DF164EBE-946A-49F1-836D-4B31B73741EE}" type="datetime'''''''''''''1'''''''''''',6''''''0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6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37" name="Rectangle 13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669213" y="2644775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C1F06CD-2210-4785-AC45-24C446DB7721}" type="datetime'''1'''',''8''''''''''''''''''''''''''0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8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71" name="Rectangle 17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8986838" y="2516188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BDC6A06-2CAE-4AB3-80C7-DB8BE36B7902}" type="datetime'''''2'''',''2''''''''''''''''0''''''''''''''''0''''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2,2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cxnSp>
        <p:nvCxnSpPr>
          <p:cNvPr id="173" name="Straight Connector 172"/>
          <p:cNvCxnSpPr/>
          <p:nvPr>
            <p:custDataLst>
              <p:tags r:id="rId30"/>
            </p:custDataLst>
          </p:nvPr>
        </p:nvCxnSpPr>
        <p:spPr bwMode="auto">
          <a:xfrm>
            <a:off x="492125" y="2244725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4" name="Rectangle 173"/>
          <p:cNvSpPr/>
          <p:nvPr>
            <p:custDataLst>
              <p:tags r:id="rId31"/>
            </p:custDataLst>
          </p:nvPr>
        </p:nvSpPr>
        <p:spPr bwMode="auto">
          <a:xfrm>
            <a:off x="522288" y="2365375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175" name="Oval 174"/>
          <p:cNvSpPr/>
          <p:nvPr>
            <p:custDataLst>
              <p:tags r:id="rId32"/>
            </p:custDataLst>
          </p:nvPr>
        </p:nvSpPr>
        <p:spPr bwMode="auto">
          <a:xfrm>
            <a:off x="538163" y="2219325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176" name="Rectangle 17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15963" y="2187575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E6514437-959A-4527-8626-A0180117556D}" type="datetime'''''''''''''''''N''''''''''''''EV'''' ''M''''S''''%''''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15963" y="2360613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92113" y="1850861"/>
            <a:ext cx="584200" cy="296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units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3988685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6410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803" name="think-cell Slide" r:id="rId35" imgW="470" imgH="469" progId="TCLayout.ActiveDocument.1">
                  <p:embed/>
                </p:oleObj>
              </mc:Choice>
              <mc:Fallback>
                <p:oleObj name="think-cell Slide" r:id="rId35" imgW="470" imgH="469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10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srgbClr val="003366"/>
                </a:solidFill>
              </a:rPr>
              <a:t>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9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noProof="0" dirty="0"/>
          </a:p>
        </p:txBody>
      </p:sp>
      <p:graphicFrame>
        <p:nvGraphicFramePr>
          <p:cNvPr id="87" name="Chart 86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14654361"/>
              </p:ext>
            </p:extLst>
          </p:nvPr>
        </p:nvGraphicFramePr>
        <p:xfrm>
          <a:off x="1133475" y="2419350"/>
          <a:ext cx="8453438" cy="2538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46" name="Rectangle 4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40811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F0A2DB3-D343-439A-A485-FE5955399AC7}" type="datetime'''''''''''''4''''''.''''''''''''''0%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913563" y="38608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2CB225F3-AE7C-489B-AB97-CA287BBD5965}" type="datetime'''''''''1,''''4''''''''''1''''''''''0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41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 useBgFill="1">
        <p:nvSpPr>
          <p:cNvPr id="56" name="Rectangle 5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553075" y="4184650"/>
            <a:ext cx="304800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FFD72876-0A13-4584-BF9A-4FCE2753DD89}" type="datetime'''''''''''4.''''''''''''''''''''''''''8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098675" y="414972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CB7F2B4-3959-4812-B54C-BD1B88463F42}" type="datetime'''''''''''''5''''''''.''''''''''''''''''0%'''''''">
              <a:rPr lang="en-US" altLang="en-US" sz="1000" b="1" smtClean="0"/>
              <a:pPr algn="ctr">
                <a:spcAft>
                  <a:spcPct val="0"/>
                </a:spcAft>
              </a:pPr>
              <a:t>5.0%</a:t>
            </a:fld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479800" y="416560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88B7AB-4A59-474D-9E6A-9C70C589B922}" type="datetime'''''5''''''''''''''''''''''''''.''0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128838" y="4551363"/>
            <a:ext cx="244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18F6D2E7-A868-46B8-9940-C13F0C346C84}" type="datetime'''''''''''''2''''''''2''''''''''''''''''''''0'''''''''''''''">
              <a:rPr lang="en-US" altLang="en-US" sz="1000" b="1" smtClean="0"/>
              <a:pPr algn="ctr">
                <a:spcAft>
                  <a:spcPct val="0"/>
                </a:spcAft>
              </a:pPr>
              <a:t>220</a:t>
            </a:fld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43" name="Rectangle 4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349625" y="4365625"/>
            <a:ext cx="244475" cy="152400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BB93FDD-AC0F-4DB5-AE73-ACCD3E5B75AE}" type="datetime'''''''''''''''''''''''''''''''''''''''''''''''5''''''''6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6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8315325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C785F952-4089-400F-9E30-71EB9BA11346}" type="datetime'''''''''4.''''''8%''''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789238" y="40703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05B143A-1849-44CB-BEDC-0C7551A8554D}" type="datetime'''''''''''''6''.''''''''''''''''''''0''''''''''''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6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4170363" y="42608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0E633025-084B-41DF-8792-378C978A6DC1}" type="datetime'''''''''''''''''''''''''4''''''.''''''0''''''''''%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0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862513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5BA9F31A-422F-4072-BCE2-883BE926AB4B}" type="datetime'''''''4''''''''''.''''''''''''''8''''''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243638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33C7579-5173-4F3B-A359-436205142C21}" type="datetime'''''4''''''''''''''.''8''''''''''''''%''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8985250" y="35417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7298935-B9DD-43F0-8807-0AB609B349B7}" type="datetime'''1'''',''9''''''''2''''''''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92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934200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4086F3-04E8-4FD5-9BEB-24118DC8FE0D}" type="datetime'4''''''''''''''''''''''''''''''''''''''.''8''%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624763" y="4184650"/>
            <a:ext cx="304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DCB7A31-804B-4EDD-B909-A447E4E1AD4D}" type="datetime'''''''''''''4''''''''''.''''''''''8''''''''''''%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819400" y="4465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7B44D16-FA6C-437D-9D91-4E595C44AC1F}" type="datetime'''39''''''''''''''''''''''''0''''''''''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39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9005888" y="4168775"/>
            <a:ext cx="304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4547CE1-CF70-4FAA-9D57-52DAD2BEC7E1}" type="datetime'''''''''''''''''''''''''''''4''.''''''8''''%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4.8%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473200" y="4667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686D228-F8F3-43FB-AB9F-F001DD90D07F}" type="datetime'''''''''''''''''''''5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4200525" y="41084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7ACED5C6-1F84-4082-B9F5-1B1CEDABCBB7}" type="datetime'''''''''''''''''''73''''''''''''''''''''''''''''''''''''0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73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891088" y="40322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88CDDE87-2992-4940-87F9-0234D237554A}" type="datetime'''9''''''''''''''''''''''''''''''''''''0''''''''''''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90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532438" y="40322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3461B049-BC28-4E0C-9CA1-2BD1933144D8}" type="datetime'''''''''''''''1'''''''',''''''''''''''''''''''''07''0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07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6223000" y="39624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95C35985-2253-41A7-A108-5E9A0A89C125}" type="datetime'''''''''''''''''''''1'''''',2''''''''''''40''''''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24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604125" y="375920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  <a:spcAft>
                <a:spcPct val="0"/>
              </a:spcAft>
            </a:pPr>
            <a:fld id="{68B2FB74-3EBE-46B9-ABF2-C0C810B8E286}" type="datetime'''''''''''''1'''''''''''''''''''',''5''''''8''''''0'">
              <a:rPr lang="en-US" altLang="en-US" sz="1000" b="1" smtClean="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Aft>
                  <a:spcPct val="0"/>
                </a:spcAft>
              </a:pPr>
              <a:t>1,58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8294688" y="3643313"/>
            <a:ext cx="3476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/>
                <a:ea typeface="+mn-ea"/>
                <a:cs typeface="+mn-cs"/>
                <a:sym typeface="VWAG TheSan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/>
                <a:sym typeface="VWAG TheSans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4F2C968-2449-4052-9127-2AEFCFF8FDD3}" type="datetime'''''''''''''''''1'',''''''''''''''''750'''''''">
              <a:rPr lang="en-US" altLang="en-US" sz="1000" b="1" smtClean="0">
                <a:solidFill>
                  <a:srgbClr val="000000"/>
                </a:solidFill>
              </a:rPr>
              <a:pPr algn="ctr">
                <a:spcAft>
                  <a:spcPct val="0"/>
                </a:spcAft>
              </a:pPr>
              <a:t>1,750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29"/>
            </p:custDataLst>
          </p:nvPr>
        </p:nvCxnSpPr>
        <p:spPr bwMode="auto">
          <a:xfrm>
            <a:off x="620713" y="3810000"/>
            <a:ext cx="1428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ectangle 75"/>
          <p:cNvSpPr/>
          <p:nvPr>
            <p:custDataLst>
              <p:tags r:id="rId30"/>
            </p:custDataLst>
          </p:nvPr>
        </p:nvSpPr>
        <p:spPr bwMode="auto">
          <a:xfrm>
            <a:off x="650875" y="3930650"/>
            <a:ext cx="142875" cy="106363"/>
          </a:xfrm>
          <a:prstGeom prst="rect">
            <a:avLst/>
          </a:prstGeom>
          <a:solidFill>
            <a:srgbClr val="007770"/>
          </a:solidFill>
          <a:ln w="3175" cap="flat" cmpd="sng" algn="ctr">
            <a:solidFill>
              <a:srgbClr val="026F4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7" name="Oval 76"/>
          <p:cNvSpPr/>
          <p:nvPr>
            <p:custDataLst>
              <p:tags r:id="rId31"/>
            </p:custDataLst>
          </p:nvPr>
        </p:nvSpPr>
        <p:spPr bwMode="auto">
          <a:xfrm>
            <a:off x="666750" y="3784600"/>
            <a:ext cx="50800" cy="508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674688"/>
            <a:endParaRPr lang="en-US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44550" y="3752850"/>
            <a:ext cx="4286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fld id="{826833CC-24F0-4E2A-86F8-F52BCDE66F3F}" type="datetime'N''''''E''''''''''''V'' ''''''''''''''''''''M''''''''''S%'''''">
              <a:rPr lang="en-US" altLang="en-US" sz="800" b="1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Aft>
                  <a:spcPct val="0"/>
                </a:spcAft>
              </a:pPr>
              <a:t>NEV MS%</a:t>
            </a:fld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44550" y="3925888"/>
            <a:ext cx="187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defRPr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190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2pPr>
            <a:lvl3pPr marL="381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3pPr>
            <a:lvl4pPr marL="5715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4pPr>
            <a:lvl5pPr marL="7620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VWAG TheSans" panose="020B0502050302020203" pitchFamily="34" charset="0"/>
              </a:defRPr>
            </a:lvl5pPr>
            <a:lvl6pPr marL="12192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64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36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90800" indent="-188913" algn="l" defTabSz="958850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500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1" dirty="0">
                <a:solidFill>
                  <a:srgbClr val="000000"/>
                </a:solidFill>
                <a:latin typeface="VWAG TheSans"/>
                <a:sym typeface="VWAG TheSans"/>
              </a:rPr>
              <a:t>NEV</a:t>
            </a:r>
            <a:endParaRPr lang="en-US" sz="800" b="1" dirty="0">
              <a:solidFill>
                <a:srgbClr val="000000"/>
              </a:solidFill>
              <a:latin typeface="VWAG TheSans"/>
              <a:sym typeface="VWAG TheSans"/>
            </a:endParaRPr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1496331"/>
              </p:ext>
            </p:extLst>
          </p:nvPr>
        </p:nvGraphicFramePr>
        <p:xfrm>
          <a:off x="401445" y="4986938"/>
          <a:ext cx="9112675" cy="135331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7361">
                  <a:extLst>
                    <a:ext uri="{9D8B030D-6E8A-4147-A177-3AD203B41FA5}">
                      <a16:colId xmlns:a16="http://schemas.microsoft.com/office/drawing/2014/main" val="2599429167"/>
                    </a:ext>
                  </a:extLst>
                </a:gridCol>
                <a:gridCol w="6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9646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10312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baseline="0" dirty="0" smtClean="0">
                          <a:effectLst/>
                          <a:latin typeface="+mj-lt"/>
                        </a:rPr>
                        <a:t> Vol. by </a:t>
                      </a:r>
                      <a:r>
                        <a:rPr lang="en-US" altLang="zh-CN" sz="900" u="none" strike="noStrike" baseline="0" dirty="0" smtClean="0">
                          <a:effectLst/>
                          <a:latin typeface="+mj-lt"/>
                        </a:rPr>
                        <a:t>Typ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19A</a:t>
                      </a:r>
                      <a:endPara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026F4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  <a:latin typeface="+mj-lt"/>
                        </a:rPr>
                        <a:t>2030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026F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ther</a:t>
                      </a:r>
                      <a:r>
                        <a:rPr lang="en-US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74382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HEV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306713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latin typeface="+mj-lt"/>
                        </a:rPr>
                        <a:t>MQB/MLB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28088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>
                          <a:latin typeface="+mj-lt"/>
                        </a:rPr>
                        <a:t>MEB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900" b="1" kern="1200" dirty="0" smtClean="0">
                          <a:latin typeface="+mj-lt"/>
                        </a:rPr>
                        <a:t>PPE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331499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612775" y="3416327"/>
            <a:ext cx="584093" cy="2974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  <a:endParaRPr lang="en-US" sz="800" b="1" dirty="0" smtClean="0">
              <a:solidFill>
                <a:srgbClr val="000000"/>
              </a:solidFill>
              <a:latin typeface="VWAG TheSans"/>
            </a:endParaRPr>
          </a:p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VWAG TheSans"/>
              </a:rPr>
              <a:t>’000 units</a:t>
            </a:r>
            <a:endParaRPr lang="en-US" sz="800" b="1" dirty="0">
              <a:solidFill>
                <a:srgbClr val="000000"/>
              </a:solidFill>
              <a:latin typeface="VWAG TheSans"/>
            </a:endParaRPr>
          </a:p>
        </p:txBody>
      </p:sp>
    </p:spTree>
    <p:extLst>
      <p:ext uri="{BB962C8B-B14F-4D97-AF65-F5344CB8AC3E}">
        <p14:creationId xmlns:p14="http://schemas.microsoft.com/office/powerpoint/2010/main" val="194318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9&quot;&gt;&lt;elem m_fUsage=&quot;3.23197520629218537636E+00&quot;&gt;&lt;m_msothmcolidx val=&quot;0&quot;/&gt;&lt;m_rgb r=&quot;00&quot; g=&quot;46&quot; b=&quot;66&quot;/&gt;&lt;m_nBrightness endver=&quot;26206&quot; val=&quot;0&quot;/&gt;&lt;/elem&gt;&lt;elem m_fUsage=&quot;2.95558581961904298652E+00&quot;&gt;&lt;m_msothmcolidx val=&quot;0&quot;/&gt;&lt;m_rgb r=&quot;A8&quot; g=&quot;AD&quot; b=&quot;B3&quot;/&gt;&lt;m_nBrightness endver=&quot;26206&quot; val=&quot;0&quot;/&gt;&lt;/elem&gt;&lt;elem m_fUsage=&quot;1.31729824910172865771E+00&quot;&gt;&lt;m_msothmcolidx val=&quot;0&quot;/&gt;&lt;m_rgb r=&quot;80&quot; g=&quot;B0&quot; b=&quot;C8&quot;/&gt;&lt;m_nBrightness endver=&quot;26206&quot; val=&quot;0&quot;/&gt;&lt;/elem&gt;&lt;elem m_fUsage=&quot;1.17828327393405851709E+00&quot;&gt;&lt;m_msothmcolidx val=&quot;0&quot;/&gt;&lt;m_rgb r=&quot;00&quot; g=&quot;63&quot; b=&quot;84&quot;/&gt;&lt;m_nBrightness endver=&quot;26206&quot; val=&quot;0&quot;/&gt;&lt;/elem&gt;&lt;elem m_fUsage=&quot;6.11370529279628982522E-01&quot;&gt;&lt;m_msothmcolidx val=&quot;0&quot;/&gt;&lt;m_rgb r=&quot;C6&quot; g=&quot;DF&quot; b=&quot;E7&quot;/&gt;&lt;m_nBrightness endver=&quot;26206&quot; val=&quot;0&quot;/&gt;&lt;/elem&gt;&lt;elem m_fUsage=&quot;4.01600804933714972123E-01&quot;&gt;&lt;m_msothmcolidx val=&quot;0&quot;/&gt;&lt;m_rgb r=&quot;C8&quot; g=&quot;2D&quot; b=&quot;20&quot;/&gt;&lt;m_nBrightness endver=&quot;26206&quot; val=&quot;0&quot;/&gt;&lt;/elem&gt;&lt;elem m_fUsage=&quot;9.83659779805733103242E-02&quot;&gt;&lt;m_msothmcolidx val=&quot;0&quot;/&gt;&lt;m_rgb r=&quot;E3&quot; g=&quot;EF&quot; b=&quot;F8&quot;/&gt;&lt;m_nBrightness endver=&quot;26206&quot; val=&quot;0&quot;/&gt;&lt;/elem&gt;&lt;elem m_fUsage=&quot;7.97664430768725701837E-02&quot;&gt;&lt;m_msothmcolidx val=&quot;0&quot;/&gt;&lt;m_rgb r=&quot;C0&quot; g=&quot;D9&quot; b=&quot;E4&quot;/&gt;&lt;m_nBrightness endver=&quot;26206&quot; val=&quot;0&quot;/&gt;&lt;/elem&gt;&lt;elem m_fUsage=&quot;5.03671768769803074317E-02&quot;&gt;&lt;m_msothmcolidx val=&quot;0&quot;/&gt;&lt;m_rgb r=&quot;00&quot; g=&quot;80&quot; b=&quot;00&quot;/&gt;&lt;m_nBrightness endver=&quot;26206&quot; val=&quot;0&quot;/&gt;&lt;/elem&gt;&lt;elem m_fUsage=&quot;4.85472444507426201254E-02&quot;&gt;&lt;m_msothmcolidx val=&quot;0&quot;/&gt;&lt;m_rgb r=&quot;D4&quot; g=&quot;D6&quot; b=&quot;D9&quot;/&gt;&lt;m_nBrightness endver=&quot;26206&quot; val=&quot;0&quot;/&gt;&lt;/elem&gt;&lt;elem m_fUsage=&quot;1.07752636643058292976E-02&quot;&gt;&lt;m_msothmcolidx val=&quot;0&quot;/&gt;&lt;m_rgb r=&quot;0E&quot; g=&quot;60&quot; b=&quot;DA&quot;/&gt;&lt;m_nBrightness endver=&quot;26206&quot; val=&quot;0&quot;/&gt;&lt;/elem&gt;&lt;elem m_fUsage=&quot;9.69773729787524671475E-03&quot;&gt;&lt;m_msothmcolidx val=&quot;0&quot;/&gt;&lt;m_rgb r=&quot;10&quot; g=&quot;5B&quot; b=&quot;D8&quot;/&gt;&lt;m_nBrightness endver=&quot;26206&quot; val=&quot;0&quot;/&gt;&lt;/elem&gt;&lt;elem m_fUsage=&quot;6.36268544113594968631E-03&quot;&gt;&lt;m_msothmcolidx val=&quot;0&quot;/&gt;&lt;m_rgb r=&quot;E1&quot; g=&quot;FF&quot; b=&quot;E1&quot;/&gt;&lt;m_nBrightness endver=&quot;26206&quot; val=&quot;0&quot;/&gt;&lt;/elem&gt;&lt;elem m_fUsage=&quot;3.58805113110951656702E-06&quot;&gt;&lt;m_msothmcolidx val=&quot;0&quot;/&gt;&lt;m_rgb r=&quot;99&quot; g=&quot;C8&quot; b=&quot;37&quot;/&gt;&lt;m_nBrightness endver=&quot;26206&quot; val=&quot;0&quot;/&gt;&lt;/elem&gt;&lt;elem m_fUsage=&quot;1.68653493349632678084E-14&quot;&gt;&lt;m_msothmcolidx val=&quot;0&quot;/&gt;&lt;m_rgb r=&quot;00&quot; g=&quot;33&quot; b=&quot;66&quot;/&gt;&lt;m_nBrightness endver=&quot;26206&quot; val=&quot;0&quot;/&gt;&lt;/elem&gt;&lt;elem m_fUsage=&quot;3.47242586774732431986E-15&quot;&gt;&lt;m_msothmcolidx val=&quot;0&quot;/&gt;&lt;m_rgb r=&quot;A3&quot; g=&quot;CA&quot; b=&quot;E7&quot;/&gt;&lt;m_nBrightness endver=&quot;26206&quot; val=&quot;0&quot;/&gt;&lt;/elem&gt;&lt;elem m_fUsage=&quot;6.43447523722716738166E-16&quot;&gt;&lt;m_msothmcolidx val=&quot;0&quot;/&gt;&lt;m_rgb r=&quot;C2&quot; g=&quot;CC&quot; b=&quot;A6&quot;/&gt;&lt;m_nBrightness endver=&quot;26206&quot; val=&quot;0&quot;/&gt;&lt;/elem&gt;&lt;elem m_fUsage=&quot;5.79102771350445044628E-16&quot;&gt;&lt;m_msothmcolidx val=&quot;0&quot;/&gt;&lt;m_rgb r=&quot;95&quot; g=&quot;A8&quot; b=&quot;44&quot;/&gt;&lt;m_nBrightness endver=&quot;26206&quot; val=&quot;0&quot;/&gt;&lt;/elem&gt;&lt;elem m_fUsage=&quot;4.69073244793860543341E-16&quot;&gt;&lt;m_msothmcolidx val=&quot;0&quot;/&gt;&lt;m_rgb r=&quot;5F&quot; g=&quot;19&quot; b=&quot;39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_QNz9QR6ymDWxtyDuS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k5lyGwMzWCsyFwbc1e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QKOvwSJ5UAqenFRzVaw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.vg25qywZEvqrNFOHH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CUkKVQbJecTGGM0ZbU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YIP6vLztrzZIL6SOzY5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f5dhDN3Fa6GwSdNMhwi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SDbXMM30ixIX2AaizS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zLfnmU31uGGHolcV9op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JBNocTPuuWQ4DPC3C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2WyJy2TjyEb_pk9MUt1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WA.03aRladFvdsllTW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uX_suiSYC7rhzq6DRVz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J.O4geR7uxgzFE_AG8L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eAotOnQoenCMJDfMXi0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y6aNoCTO.cn_5rL8_A0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ay7HbKQQSfzXb9hHiNh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ul0Sz_QVeqTscJbGPR4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dtcisoR.26UW3wcnq6E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ZGlAJXScetMNvKe.p9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8yYh2cCwzcfaidn2f.A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QdRCAJRFeWLPJ5lSu0Z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vessROS2a9J9rQazXF4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__LDJkwFJKqlTn.NpJ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OVVCq0yx32ZdtqEVGYl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kFOjJ9R2CdJJy.KBcP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zXc3FgT8KDlDZS68fx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MrPk3AT5ybYjFAHMj9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S1GD99Sump_c2ePRbXn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VPF0UBRi70dFLRcdfnG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Jv0VOv8c7YEfPjJRge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f4St4ztcdJDefKJ0HVA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HrK39sQ_S1t_1r9euUG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ZxQB.0R3.IqAW.WKeS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L0WjiTfeOwP0vbazzY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G6LW0GSuOhmaZTJl_3D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1Zi1hIRzOR0HwWYAt0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7g9jSQVF5b9kX69q5Me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rzalkIR1ioe8eD_2UAf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PVWVvSOaXYBrHHO55U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pS4qJcQAqDlT4Tq2DDk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kVsnPUS_m.NYkEUPo6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Sy33eMBoKAqgeVpDLkq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Ez7yU8Te.p6LstxFA1q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t6.3uRLi76YN.boVa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oWGl6xRj.SKRwLTcl2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6OupkCS3Svj6K0fDNj5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DP7rRWRvu80yp3I5AU.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DO1SWDQ_6x3GPYwcSbZ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aXquxNS8KQc.EWkjbf9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Hl1C1VQu2sRkcGKojpH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7PkFxeQpKKojY6WK1Pe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.J6rYaTOGrYwqwx61D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bGqbShgk9Sm2GjvOVe3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E38CHdTzaIB.IgtSbMS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imCrJ.Q0ex52bbUrBcO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3jtGKWRMm5quWHTddGD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pv48NQm2CyDICDcCSB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tRRv6iSr6AgOcLR4l8B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l1J9VdSG2XWSpIibdIh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mcIjfSRNGLRui.o4lne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6Oa2EtSFWE_T99v1_rF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7YdcMrTYiwOy3A8_mOs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oq4XfPQouUzf664rqX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toTWDFOl2ahO46XyuC8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xPpYTQzSVqalJkttV8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JcO.fHQMe.YIo.34nF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fXeLE6RbyvIGWB0PNFz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RLkJfcQ2GYWUqLHJdJq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h8CwArTpiSnLklI0TeJ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6ql3eZQYaQaLdlkv7hz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hZbHzZTPGCz0s9X.UfI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kVtXxNSYaHcqCCpBSWH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rS2hSuRh6A9Oe0qb.Xn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kZ3QGLQ1aODsIcN_iZ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RVHf5AyKUs7hDdsMpIb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_zNO3WR2WUNlVQ0022B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c22sklTeiR7zG32u4v1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sF98YES96YiZzMKuYXX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x0ygZdQ5aKkFZKI7QmM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jFWbtNTQyMr4mxXfaNi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c_Dbe.TlSyndVV_vez_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6f3LSsR02NO1icggtxL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cIXjspTEWyprbwOrM5h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nI9y1SfG4wfHDnjX6F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oy0SwQ0esYiNPknH3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yte7IMzVc9enOb0vZI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KJZqR6QaqXUzfXArODO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tayx4lR8S2TezjCV8t9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9.BV1rQxqO9xc0uwMI1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XrKZZRRKvlZhZEUrlQ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S2OsSSRBCLhPS8JUA0e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nYn5s8NA.s3L5oQoGnn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MjygtZS9WPfes7zKQtQ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h7XVczcODw1zpGc3EH_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i3cvoUr2CKCjmIoKtmJ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Duf8IadelhFNPDSqYT2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tQRCClq5Y.Fm6i5rypE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jP.wmExUoX0Ulcv4Ewv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uFA_acXD9epP9keOna9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jviCfZVnCwyYei9DfYu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4RzY2TNSfd4Nr2GDl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KhKLwETpW36HHa6HN9y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NvmIMhfO_4p_nBnwI9.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jG22P3bJZ2Oi5L08g8S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0rdV0aQn.odGSzlmAfz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cREN5366cS8SuKooecs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hkWGtMNOupkTx4Lsmb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LgT4rICi8Au2PnBOvIb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_z_OU0ThuqFkrtC7YWH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x984.bKjt7ZpA4SVGN4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GBw2281BfhRf2KMWtQ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55FzKtT2SJBtLSvy7J0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Yco36sJDslFYYpuriNr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G_3C3ByhI7U0yZzK8q5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nLFiS5QqCN1MNIzb4_6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QefJ3cf4PWqodV9Lxnx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WPFOyJQKGZQ4uIG5QF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tOk6u4UsPImXyloJeQ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emnFE9Rg8FBk1CX18VG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vyOkvOTLCz.akvmLHJJ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WppdrPC1WukS1v6eQc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iwjOxkfOcD7XcrTRhn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e62LUvGRSS0_oCXYYW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GLyVgaaGLGNLJx2135m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Nf.W1yR7W9keGOQu5vZ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OBgliIdpqylWpFqzZ.I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jJoUQ4fw20LLlHjp.6Y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wZhKOu4FwiZgQTWEzCt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_IMny2T5FUmeAcYcVm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MZYwo23rL5CpLnASFFe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9cvmfkQ8CTEVvj.hmSW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gIJGMxD.jH9G9GZlcsr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sZsMkprRf1K1cDGs6XA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iCfVQE6OskWksWcOo5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Rd1Bz5gqxdxCh.ilev.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fxZkakVRg7e0FStH2nW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A.a3EOQs2QgNYWlg5.w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H4RmIO3g0kpJS4Ru4jH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d1s76URrO5cWEIqw8Yc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BzqnRuNDEJBMrT4sgF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W7DnD334g14hFZJAtIR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XGnD11RdquEgAv4O4Rm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1d25AMzq0kNUo3ovrC7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yEHGCZsw8zfr6VVNhxC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H9SlJGbXtRVItsajIj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YPldySliweZkraMJb6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OumsJ6QLT54Tz6RRKwn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mh9IfsQWChejJfCNTyT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RPHhmRJMiAawfSx6xBs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4n1RsHKye0MKi4UBcaA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B4OSFsQMFPAxSO6TLc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0_v6wo9xlT4JoJ5bvb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OZSOZokC5Qxd365r72v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i0_CG9uR1D2.OvcDatE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2oc.cjgEu97_v.8wCOC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JBTybwTdqdaFg_HAp17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ENmnIaTKmKDjZwVLPQQ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jgLN7Afe8WWc89nBeti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_1N6g_eCxwoAFnihbU.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M8oNa6au80ahu4IaBc8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jkV9xAzKXdyL9Mw4puM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9Kyl1P0ZP9p7x0ZwUg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BeIGsdKy7XSk9CoLSdV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WiKPaLR0S4rplX8N9vo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oFIdlxJwAj6T6Igloa_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L5XGCzsK2wDgD5Qw5Fb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3z7n2RTCuDj_rBKi.Jz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oDyChqLTilnD0MGuFwc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kaYUq6SWOqsQslZs3to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kGUySeQbO5Tchm3kyaB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0V9lJ8R1yk4rQDRnb8_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M8RRYsSJeGZkZpeEsfb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YoO4cfR4aQmvjSwfVx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9Rp2W9lsoMhgp4jaZ3N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790pgCx7D0luOvZCuZm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4k2CoJQW.NjT4aNQA_0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gH_H1R56zbZByAbAuq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czoAP7R3CVSNTTvjZ7C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wRqx0kHPo.oDiB.lLw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_ivoWhiByhTUEtk3CJ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_i1N4qT7GxSXRaMRiBC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llSGhvSy6QIh_Tj3vuw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1VpFQXTymwLKDPTezCr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U1cXNlTnCnOkPJcsJ33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43cnFkt.C28VuVuZlx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0gNYWGTJeAIH4sC_B4v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ejvwiQ3m22_Su0D9ft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Mdmb3xT7G8U6RZzhB6X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A_MaqQQC.qxJjdDAR3U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_sOrMsRHuxa.Fhzout5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p6yNCsQPyuak9a0ng2L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MdsSQHS8mxdUuM3umr4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6_.9htS4uTaQZlzdDIu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W_TYNIa.0mczIgszdUP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XKxa0LyYZm2DpLmrKk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0TlZh6bgwao4GPu_Pjp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lYECR1ku8T5JlxKA6f9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1_XQKrQHo.aetFyzAL.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q322s0BZ7DyFegeCzsN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J8XQRyqEfSJK3rIr0EZ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MAfnwYY3.wBcGWK4_P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YKA8Yv2DlBFj5TkASY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sBYJmwDgIjl8BkKsXM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DMyja4RMCoX20DiwIRf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ULRe38cEyK7Y9yTkSx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J3.2KFdFfwlze_lVU_b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o4gTLtbQtQIbm74qLhR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XielsVS8KnT1QmRPBJn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oqSuY.RvGinzOt7wo3a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uWUSr6QNq5.zbqWayLs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FOHKGpQB6PqOXyT4D5d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Ow5MxhQMykYtfr2pzWr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hnWGSQBG2EGTaabbMk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QA8G6Tf.WUzP3aNS_v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KFAt4STJG_H_r6G5.Pn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2XNCodR32TyyyeVK.k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lh1JWISbKSHIrZxJwp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sByxLyHcmiv9u9wYfnv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YuwC1cRgi0LWMKDh9OF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RSNyvTZOPBVeAPhVDe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of0gF5RLiNSso11VCGF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A6ZzGCQwuVhfLJpagP9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IP9MQ1QuGMzevrL_Dpo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UOYhZzQZWs2GIPKdQZS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doVYkTS9GNxoKIhixnT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I1E9zUQMCy6UKsm0x5k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11l0bsQbiDbwUoUid1e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AmEcXFTMqIgfgyV_99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4zTvYcOAQTBh4UTjxQ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qHaWhRS2qybmI.XjBP4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t1vFPbSy6yE.Yu10UyJ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QFSo8MRMuJTNZ1pt4Vh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KzhFTESOi5nMZv5_PrE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RYM31QRkuESJfV2vmwI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wwJFfS6C_0kGdck_No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enLIPJQvCP2WbkbUdRS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zKpdqqQi6jPZvNBcGKz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n8gzDRiKKBdmLoihT2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fCHCPTT2WKL9v_Wbwy2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4n8uLTeV8aDaf8kYsf9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QfqvlgQYeNAj5IVvGHL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Pkwf2ySt6ZAhlOE2BfX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opH7OSSG.NR79_u.6Xr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P9uSd1RL.Ya6ald31zW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fLhF1QYe5Dj5SST21F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BgveWkQNaf7vyXX8twy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nX0xmCRzmin3OlpJIY4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.733zGTZmar2X5KrIvI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z_LigaQ866Hmr2ZzRQK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yyJGw2SdSAPwvLlTLk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8AZbqiwETYMFEGk0LRb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cBeCKGR8m0wH8aLFOay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6ApdHYS3CJIYctNLniO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_5JW_7QaCX953slLwGT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NBaYnFSBKfKJsrefRXM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p89Ua6QwKCeopGRkQc_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uNmJzQQc2dA20f3BcTR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vDEApKTomtsNJzlIcUg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.k2xMFTuOTKlOZ64iLO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pCf3hDR5yhwr2JcVfC7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BD8b9ITq28HeedjIQW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cx85c05Zb4zj7qme9gB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641M.kTZiW0Epl6.JRY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jlXCTR.Wfq_hWEcK1c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NdKAYeS2ujvbrjJZafr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vU.LCFRz2fe7pM5XZMW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nrNQvCQkaiCADNuXIZu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1hd1FzTpKj6jm4QOPn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QcU7JGROuOgdkphiXZX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aukslFSTWqZ5U86oXiN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SMDn1qTGiGZh7.uugkE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bboyhXSHC_7FRmeSqd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KMP6R0KVzc190asnP34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vBUpvwTx2p05QYA6.Z1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TfSXXsQmeOoxFOeTX1m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FzjUlETGeA9OTsE1Dsn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NnZolZRGerbYSnE8qpG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z3bAHESB.ct9A.ba_Xx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5RxUprQauTQuh0nXXQk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.RkFqGQB6qRTtQ4EpBr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o2w3hBRZaGjDfWdhiSe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LCXdcjRCyjtUj0ICiqz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j7GHTzRYWMBh8AEjkl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YaQK604GmZ9Tf5ARNv4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zfOEK6TtuwZEDBeB4jc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Rvn3GdRdu2miyrnppuQ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Kr8HkTZCnRPvP.sWKm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KuttLAScaoTqxVY5muY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zoiXz.S8Kgf5spdBu2U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UQYMw6TEaJLOP9YXWCs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mIZK1PSvOcpjaLMbzhr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AAL5PESKOybPA8eAVny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lI6aLaRMWkzFR5AsRIJ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up12kYSU6y82ghDoac0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2K0uUlD13Qto6Y6zB6Q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f6Ah4YSO6xINn9wZNuE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mgV9xxQmKqvbo_ezhRW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qwaJLNTH2nwSlMK590O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Xh_yVpRG20BQLJWG4Z4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X1vW3xSx26TPHG1bbDV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r.BVKORrafHqYA2vfor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RckZbMSqmu0RcFRrjGF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udChpJRUi5TkA3Re9qw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cIkXmjS.aII30eQYYNK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30q1MTSOWh5XEUhQks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BpyA8PJRNiLhXHeaJRL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OS2rjMSYmrN65TouSZS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JUsqnnTnu51cBKDJd3W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i826ZLSUShkxj9r_p1E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SGCwFySe.ysS0OMcPhj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F1_47fRQSMYDp7fwT9O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rVdWloTXmk8QE6BVuzH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HNVJljT_a0iLOEXpgC1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Hulbz6T2meYq_CZ3oN1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xKaIvhTUKV_mVDb5i7Z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VUPDJfSA21nUv6cwpm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2w405DARw3bbXqbStie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rzt57hS9.crc1HQfTov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_fpn_1RUaI69oEtpkT_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Fx25j6RkeeECak2Ht_E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gB6UiIQ4eiv.1N6RhGG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jhl2usSG.frGwc5AmSR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c_xoD5RjupDvcD_EJ6X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veY9iURBqfoL1hPE6gA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rOXzguSkOICPiecsY6k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ntgE1KRBS3DpKviWmki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FkZh4RY.2FEcsS37W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KgN65PEKJYlUlRZsv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me4YWFaFFVM7elwfThV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rStgqKTeC7v8hSZ9wQ4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RUa3mzThqg1b0YKv_Fl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xcNNUQTz24AQ1GjwIhl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UwsBL5TH2l1l6OLH0ib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S91bFnS.eBrKwj4bJIy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qHTsfhSuaecOzG2Cvmx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blq.NDSOGzT7YOXjGB_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MpgYdoQ1KYzJw2Ivre8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o6oU9fTFyK1YcDrujIu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jT5ArNTWK1r.4d3_Nf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itUtRHdjTW2qSCj8nBf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7Ks701RKi1ii5KRjj59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fmvY_2Q1KK00Ru3tEpi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a92OuxQY2xGrwOjoRkl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cVWfG6RX.3SlodRiraF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2Hx0ySRay18Afy7L5X5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CluqwxTmiKvg1C_QVCp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Qs09njR1m2rzwAXNFCH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OklbsqR0SKxvWikLep6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K4Mt.DQPWr69kl9dg00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ChVtiRU2jDH6NocTt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Ifpq3C0hA4MnAxmzO4E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NWsgd5R7uSGuvhMskjr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pKXxSR6udAuT4ePq.J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4DBZbvRp.pKwKq7eArS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cGYq3cRWaZDJEXOEBZj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vxy5icRI2PcEba43u.c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ioNHz8Sj29Pby87S9ys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b9AXCVTxSM7AcvE7JOu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oYkk0OSxWRPxpahdCc.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6x_SXQvuBiKWhPxXv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VS3GP4du1vtODpPPnrJ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7YkoSPuT5nUeurCA7uA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OUV0fQlCvGu.a9iyc.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a.cjT4T_eDzqYQDg9AY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V1bto6Te68iqaFXpQ29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bkyhL7To.htqL6JdLaI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o0CrdZRsChfwE_A1exK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wotIU1QAOOhrq_Zkd0U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5sQUIRSrysE.jqdogYA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8zJVNnRBiqb5iW5kbpv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7e6B3R5eJayytaLrI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25NGdQ9gbYWE43Ixwmk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PBl2OTJy.Bm0yQ.eDV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LwdkYiRPKNSYhqXoUyB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zsZIfRP28LfbIHJLFj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qxM_dTAORtc1wkJXWs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tol_2fQ5CVXYJvKjZJA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x2_N4WQD2NcwDp63sE7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E7LKDsTMG7Uc8FBk9bc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BDM0CmQm..pXlL3TnEY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eg0iMRZaN2YIxHIK2o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GDRIvSvaSn5.TVHOI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YKKRTviXKCPVVoq85hc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gIGN1QBGJ9t21elIrC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RJ2pfTGG1DaQojvgHf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BJIQ4kSMyUYIU_Ko8F0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CJLMsRXuS0j6lWJLvf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pyfaWRQ1GAn4AGpPkcp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rTWsHgR7WLqUcvWZ8zA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f6OXGoTYyk1cKlvceLf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2xM5vQq.Fqz.I1TqAc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0mzCJ3R2.W2ShggrPc1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mtHtaRN.qHK3gFq_Z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0gyn2zzJHMFCpFpngla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wUqoOR9ekG1BGWaFm.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2hMdTiy6h5Z1f0xPL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zMaH7TFKyAXYVf_xR8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QyIHcT0elJ8Ygc8V9V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WS7dgTaeBq5IpNZl_p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LnOEy2RCGyQowj.QFz8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aCsmXSESxcqOsSXe_u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4yfiRCiN9p6xuyrDk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zrBBqQEG3TeXWRvzuE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u81YkERMCvh7CJ_5fm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3bUxqbQpeOc3s9j.FVl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oYHqESAutQ_4fcpQgP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2YIu6VS..vt3BwfdvBO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kugEFS_.Nt9UV9v64w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BtJjpQtWA_D6FSv2Dv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hgHRjJSEK0E0o_S9Koi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lZ87MTgm3ysWr36gBr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nHQU.SS.6i07Zt81SgX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g3g72nSTyFKIir_5sug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lrzbKTeCp3cGiG.H6Q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4Ifc_Qk.UUXlZaXtM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F8Y2DM_SA2lWOmTkweA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Fq1ih2RLuzOrl3pQEEz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MxmHWSi.L9.SKEjYRj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y7i2ZiTB.jLabAkIz8C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L49nTRuGwW8v5pEYrm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OFnymuQFeCetuqkOBbj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UkAN2QjCx4KIU6xD.X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CStly7TqSEJdyj9JixQ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6CkDM2wSguwvbHZCsTe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MXfEXq_cFIaLYUo9mb6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7N.JHw8GQDSYbRSVeCF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sDZEIg6Ypml_1eENYsY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z.va6HaK1_jATMVTdoA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YwdXNpyuaZwEgPhhfu3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jAZ2g.TieNl5vevJbtd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N1e.yvqt0vRrIh19hsm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teYmvEAk_4hxBILSOXi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Vbi3JwyjzAZr8vEHuJo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r7Ue6dotNOXXTW.iHy0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9JPaLGJZFgkKeWDsfb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p.xkoat1vaYIgZcGON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7_N41IZj2vcWk4e.y2W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578SbLgN0mUn.MOp.Jk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S0RTlpiQlYIfYVI_89H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GtQex2AJDOSw_pvWJ5a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2KiketLVjY3o7LOS4wj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EGq4DZPU_8l0OzdOwfa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2vsW.m9XxZyQ9TT55Ls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BSKd15Qs_gzKcwvgIiN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7W80Uvki0kCbzx2ZAno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ELGPdaxTxbDSufT3abj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moFVCISe8QDU1RN7Qp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_y5jgOmcBhVjN9SJV9g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KuDzfg7ibPTwGYI9zen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fq0NGFXfJX2zAqy1wyI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cqNdbfCTbWSPTNsvnB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DaqkJR1WmoYaMmMKvV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zJ0qnpNVnhG_L_ULBy6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JSO7fkNE8a.ZccJBoeC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AftQs07x3fuCsrBGK.X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cZ1kpd1PmeSVzj4HcEa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9WMtcm_jRdZXG8xAd8j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frdku5Oml6kN2kJM6B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en8eVTD0WGeCAImhzFs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pS5XLRMW9CLiixCMVuB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Ytouwo0yqIutvjmoa_t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IRqa1M_NjJWHz14RcSx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GVEEFr7v.6mJKqQHY8F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eAtIXQ0fq5Fd2vu2Gw7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IuhyC65KAJAZNAXmV3q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uXPOmsjZBWOBiU8fMjK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VSUeRBsx1Aaqv0j9lLB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fq7nvE9TrkQDJm1X.A9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p8U.ZhzL8t_Oac.yeU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Ek5bN43LiT7r57IjVY.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Wi9VZXy.pORENGXjQd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Ht1UFzOgG3ZYkOjPIpx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tAhT1vaw7Yc._AoYoO4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IG0LwwyzVFvF9VjhNlO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CN604RhpD0C.V78CdQJ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BCkpIW83P5TwQuZFmsa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xUJ3LdZ2Iwzay7o5rtT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6x_SXQvuBiKWhPxXvq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dUpYhCNdiUG_b64GCq4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uLtgl_lZ.7fsY0s.II1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iuVIQp7cPqhoGA8tyoD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EcOJayPULLuMV8utBZ.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OHsc7Zr_L6LaBOo4Ptj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yPV5ENhLc_CzHZzxWk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WuEbuOv1qRmfPWaegwi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x_8q_ubLTVdbea0l6AN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3l77443.RNNbob9kaca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P91lMgUC7rnIqTf0Job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9rkBHIReKFHZbuSnSiQ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viSOQYnEI1.UlYziBF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OLZSUjX.CX96mjN5nDP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6.JHYFIcEZAIPKG9t7Q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HSZ9xFk5A30WjrVjQU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bjdDtuaNbUbHALWjHA.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FPIzvIis.qbclId.bRz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iTJnxaSxE9jC081RMN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ZwsP8JkhJJEScu5ejE_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zxn0mn0uYZnI.piGeOO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XM1HegoSdylr_OBvb.9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uIlgqfI8mPum2a7QQ1r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AqZn_3zfaQukAEaOES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8RR31xfvAwbrk3LZ3UW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jQk32KH5SsBpM9LOiFX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Xssd9TtpZtvdBkHnRA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gIkJxTmTz1OgNnj59sq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DSCrsq7ElbB2m7BGa5Y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AvspjUFnxKf_bQmmS_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aeFPRvz8dXNLBi5eXVo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iyFd1isbD3oxb57nows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72.9IYXcx44pO2d4AhA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yRdgTujUujsJL5hLXEX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0iiT_i.7u5pbqJ91qYt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Xp2PEUaKM8LjNmpTdgc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uVDexlSQOlCJXMXGbpR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Obw8uaUDMTWzYlMRPHd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PnOWeFQPmKhUu3TPbeX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ACNgIQsmQPART7qIIB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xFEfrSPijfeJB9igBS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Ui8l6BQLm6M72XWaiPP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mBsFmSa.jHve7MVw_3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aaI9tSnGuXu6Pw0mnN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5OWu3R9GCFTNrfEMZ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ymvamnS5Ll7zz00bzub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lfFk_RW2jXYgTnYSS_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CzgkKT92jah4m13JTl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eqoznRHeVj.NLAVwoN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5GAw4ScuJOVMkoc2SA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6mvOjCSZCatwSZMfT2.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Qul.XQXmTura6JDOtz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6cr12RdqyXba0jiRk4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VrAqATO6_czSLT8Ud5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DTW2NQHeYtEX59UArh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4dNp74RH65xz4ZqwX5j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llIoQ4SlI7DvHdxqCvl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n8Z5qTiCTex6jT1rWA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yLmIW8R1ujBRenmXRH_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xl3oPTv2C0krOkRPAC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VvrMXRpyDySKh3vbSj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QwPQfERMav.TJXMWOUV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2dvCqRKi1dx3XNJEuZ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.VoUdRVGvk0xugPNkp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0IIlfTROylO7Itt301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O6bt8RfOwQlQSn9JXU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YfymVwSi2H4UINYiSB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JmDCGtBmIQtIyBwt7G2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5goWKASgSdE.chtN7iT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8kwOVMQG68PRFoj3Dh6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a_PQaFfE_3ZNaVaMZ05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4kkT.n12IKRIxKWLB8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YzRCe7c1mAc_lazYHXL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9r4eqsiYEyUFCm3ursM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t8Mjul_b3NUwf_d7Ag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wBeWAYuw5hc.2yNx7_M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lQSupqpxTQyh3Tb9jRS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5wfaaKtw40IYFGXyoLY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_QedPVqFN8ZXPQSYWY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jW0tMsVxJsS.v21YzL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Tqxxo9gd0MpJ6jAIGyH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m6bej0UXMUhiVkvd_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uWbowY4H9t8hMaK.EQA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HYct_pdJ1hRBbaoStUf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XlNluFK.Jm1LvGN0EPG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PMNKhR6O45zvBle5Ni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602BeWx5bJWBT_kovg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oiFGyxsFVck862nG35v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7svnlleX7tFCgMFN_mT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reFxUTgvx_r2M1wHaJ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tSyN5NlCnGiwcTF65Ag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RSnj4WRhirYT8Z6Qp.c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vwH_jRXBrkQBtPc0CbM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wPMYtLclkeJZpmCt.7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gkxOaBV1UVTxiEQ6dWt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ObkajHxnqqVQAMsYfvk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OB5gOr8xCh0kE1yJQbw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vS0fDtNe9_szVe_64zp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H_0vMaFY9JbkwmwAPw2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WEsKPZMXRk4zCBP0ffq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XgHjQ1xF44feIyxfLhX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PMNKhR6O45zvBle5Ni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FhoAjNJdottqBW8yq2p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RSnj4WRhirYT8Z6Qp.c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kD6VxMyL4n3d6Q72_Rp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sZgNvSIKpqAlJHkgHg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enyd7.MkknJPRL8FNzY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9_KXClA_LLZa2QC0Jdq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rextu7TwqdtT0nNvx9v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om0_tTFuAiqMBBJdnA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VyHPabRF2AyGbM73h79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oA_W3QjyThaV6pkQm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3jFP220U6rWColkUGWp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YWsLkR0W_o90T6Wr1_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4h8xrP_MSgJpZCXRZR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JdhjyKQP.Z7a1XmZdAK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a_PQaFfE_3ZNaVaMZ05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4kkT.n12IKRIxKWLB8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lQSupqpxTQyh3Tb9jRS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9J49IDHxO5ZZb9Js1KP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TzOBYv5qYsxYgJdLv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.usvAb11Mz4rSm5Wfb7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NFgc4uXJLenn2RHiJei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9YYtNg4fQ8EQ0THNGrx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OgheFV9SW6GlrrPRV3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Y4soowO.WxumOOpfaFP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zueg.BcxHj4uQ9xVwrD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f_JMvEPgo6MTD8Px.PG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l4Hxs_AmxPtbewiGL.5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VabAVk8Xw8bJoc3yX2h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PMNKhR6O45zvBle5Ni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tSyN5NlCnGiwcTF65Ag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NBJGzOp89qWHIWlr5WY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7svnlleX7tFCgMFN_m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KXMbJ7T4V50srLz26Kw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reFxUTgvx_r2M1wHaJ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E9F1uYRNmacGeVdtZ7t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RSnj4WRhirYT8Z6Qp.c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602BeWx5bJWBT_kovg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JoNMCz7QLYQIt70ofTb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o6JMZQh2N.PCefIAUU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ptv8rt7ftGnK4Z2CWxM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XF0dOFyzdEX8zi694Bu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BggrWRmKpcB8Dgc3.A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SsUprR4eXd.xUhuZSD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uSlF7RHWMv1h0Z41Pd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y4lLMvR3iWXUn6FSaOH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KqzDNjAqEKj3paZH3s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0rh4MtdjLguRJJmpoKD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2iMzP4CS9R7ILRN_ryV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T5VPi8EZKweQ7hOzbE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YSIPst.uAUDaUmi2tDs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sFgheei1FQg4cgUs.CX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m20eePD1wXU4Gk007ij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myffi4F2a1SOm_IqZoj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o4D_6SR6LDphRMZYv_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dhLXfQBKeWwMTsopu0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Ay5lOTvaYZVfPQETqT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CFof9yQyGixWBryXQvn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7sXLb8S1K40Ic2dbXgl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PiW.GRSS_B9.vacyi5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bBA1a2TgqYYtClKleu_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V5T2ETROolfoz_yMZB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_oOqIy3uDx.Zmzepd4Q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sZgNvSIKpqAlJHkgHg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sg_521QhmLuhId2x60Cg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9euvTfi0C3N3r1IVz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ghbLdRQeiGj.EMeGbFi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KZ6pVTFeP_IItnlig.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dSypBVbguhNgIqAMAIM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cu72Q3u5mZPb3ZjTMV0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bgdQxkRqWGyL8mycr9M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IRWxYQlq3.QRWbMI20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w09lVgSipeDicR7GZqc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3ZI_uRBiomJTM8S2tY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FBhZSSKq1R6Ji802N9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TfizRQ72tXazA1phQL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MPTA_RYGhjiTcQrBkK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F9MSJSu.W9U6UeZdbf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_e9.WRJah6tLA2_KRu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obt3AKzTj2URqqdAddG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3ST59QBKwZUeYvyeWj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nUa1WgQESf9xyB4ZQBA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4V6IYdTcq2UXgWvar2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RVMBY1FTRp5FS7yswxh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rextu7TwqdtT0nNvx9v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VyHPabRF2AyGbM73h79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nkS2pQVKdfDtJzJ1pm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2C3l1S.mgc7uz6VCPa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Zs.q1TG6Da6yaWpvv7w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oA_W3QjyThaV6pkQmX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om0_tTFuAiqMBBJdnA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VW6KSQMidGlcJAC7Le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YWsLkR0W_o90T6Wr1_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MvSZxRTuAHBKMmdL1d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rD7CmgRqCV0F6wANT4D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EhyoLT3OEPMXzrbg77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xs7cQSK2kL.F9LFQ7u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ZlNcPRsms86Zv.p3an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ndVQxfQ_yXKkARCXhJT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U8Q63Sd6b4pvuPy07D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FoQNMJQ7K.18_XK1Bj6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yFIjOlUCH15Xdah8XR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s0UXrRouKKAJ66LbzQ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dYeSP1shJe5ond6rJc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PK4SnMuamIVIPa6bN_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tAbfrkYsnzV4sMz3iu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0afRs1OTOvV46oqsZQ0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L7LX.PdCtb.NJ8KZzAh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Qu7bTumStSxYxXSxbx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89AkvNe8__Y1wz63gq6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FQh9mBf9Qt9WGJ1OT4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c2UVv1IS91LOO9aoUaN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Wdeelz_Yo1gp9nF.3W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kCHG_RRTDAEFhIqoqSl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t8noA6DuThCiOofj_F.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TuhsnGieHi64cdet8m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A3IClSrkqa.vyNDpJi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vmhbYbBbRTVt_3HmEit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APMR1KqTdRJ01bCKB1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Eee0pkneR.ZuwS1cFiE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eR5HVaqsnpt5YzgE7s1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74eUN7cLW8G2vz2gynS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uxCrtOmzHQQ_Blo8bGZg"/>
</p:tagLst>
</file>

<file path=ppt/theme/theme1.xml><?xml version="1.0" encoding="utf-8"?>
<a:theme xmlns:a="http://schemas.openxmlformats.org/drawingml/2006/main" name="VWAG_Presentation_q_de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20316_VWAG_Template_draft 1">
    <a:dk1>
      <a:srgbClr val="000000"/>
    </a:dk1>
    <a:lt1>
      <a:srgbClr val="FFFFFF"/>
    </a:lt1>
    <a:dk2>
      <a:srgbClr val="003366"/>
    </a:dk2>
    <a:lt2>
      <a:srgbClr val="D4D6D9"/>
    </a:lt2>
    <a:accent1>
      <a:srgbClr val="A6ADB3"/>
    </a:accent1>
    <a:accent2>
      <a:srgbClr val="006384"/>
    </a:accent2>
    <a:accent3>
      <a:srgbClr val="FFFFFF"/>
    </a:accent3>
    <a:accent4>
      <a:srgbClr val="000000"/>
    </a:accent4>
    <a:accent5>
      <a:srgbClr val="D0D3D6"/>
    </a:accent5>
    <a:accent6>
      <a:srgbClr val="005977"/>
    </a:accent6>
    <a:hlink>
      <a:srgbClr val="5F1939"/>
    </a:hlink>
    <a:folHlink>
      <a:srgbClr val="80B0C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77</Words>
  <Application>Microsoft Office PowerPoint</Application>
  <PresentationFormat>A4 Paper (210x297 mm)</PresentationFormat>
  <Paragraphs>1165</Paragraphs>
  <Slides>18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宋体</vt:lpstr>
      <vt:lpstr>Arial</vt:lpstr>
      <vt:lpstr>Calibri</vt:lpstr>
      <vt:lpstr>VWAG TheSans</vt:lpstr>
      <vt:lpstr>VWAG_Presentation_q_de</vt:lpstr>
      <vt:lpstr>think-cell Slide</vt:lpstr>
      <vt:lpstr>Long Term Trend</vt:lpstr>
      <vt:lpstr>Title</vt:lpstr>
      <vt:lpstr>Title </vt:lpstr>
      <vt:lpstr>Title</vt:lpstr>
      <vt:lpstr>Title</vt:lpstr>
      <vt:lpstr>Title </vt:lpstr>
      <vt:lpstr>Title</vt:lpstr>
      <vt:lpstr>Title</vt:lpstr>
      <vt:lpstr>Title</vt:lpstr>
      <vt:lpstr>Title</vt:lpstr>
      <vt:lpstr>Title</vt:lpstr>
      <vt:lpstr>Title</vt:lpstr>
      <vt:lpstr>PowerPoint Presentation</vt:lpstr>
      <vt:lpstr>Title</vt:lpstr>
      <vt:lpstr>Title</vt:lpstr>
      <vt:lpstr>Title</vt:lpstr>
      <vt:lpstr>Title</vt:lpstr>
      <vt:lpstr>Cycle Pl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7-05T10:04:19Z</dcterms:created>
  <dcterms:modified xsi:type="dcterms:W3CDTF">2020-08-04T10:0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